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60" r:id="rId1"/>
  </p:sldMasterIdLst>
  <p:sldIdLst>
    <p:sldId id="256" r:id="rId2"/>
    <p:sldId id="257" r:id="rId3"/>
  </p:sldIdLst>
  <p:sldSz cx="9144000" cy="6858000" type="screen4x3"/>
  <p:notesSz cx="6858000" cy="9144000"/>
  <p:embeddedFontLst>
    <p:embeddedFont>
      <p:font typeface="Calibri" panose="020F0502020204030204" pitchFamily="34" charset="0"/>
      <p:regular r:id="rId4"/>
      <p:bold r:id="rId5"/>
      <p:italic r:id="rId6"/>
      <p:boldItalic r:id="rId7"/>
    </p:embeddedFont>
    <p:embeddedFont>
      <p:font typeface="Calibri Light" panose="020F0302020204030204" pitchFamily="34" charset="0"/>
      <p:regular r:id="rId8"/>
      <p:italic r:id="rId9"/>
    </p:embeddedFont>
    <p:embeddedFont>
      <p:font typeface="Montserrat" panose="00000800000000000000" pitchFamily="2" charset="0"/>
      <p:bold r:id="rId10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574A9"/>
    <a:srgbClr val="E74C3C"/>
    <a:srgbClr val="59ABE3"/>
    <a:srgbClr val="89C4F4"/>
    <a:srgbClr val="1F3A93"/>
    <a:srgbClr val="FDE3A7"/>
    <a:srgbClr val="F39C12"/>
    <a:srgbClr val="EA4C88"/>
    <a:srgbClr val="2ECC71"/>
    <a:srgbClr val="3A53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7" autoAdjust="0"/>
    <p:restoredTop sz="94660"/>
  </p:normalViewPr>
  <p:slideViewPr>
    <p:cSldViewPr snapToGrid="0" showGuides="1">
      <p:cViewPr varScale="1">
        <p:scale>
          <a:sx n="119" d="100"/>
          <a:sy n="119" d="100"/>
        </p:scale>
        <p:origin x="1410" y="10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5.fntdata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font" Target="fonts/font4.fntdata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3.fntdata"/><Relationship Id="rId11" Type="http://schemas.openxmlformats.org/officeDocument/2006/relationships/presProps" Target="presProps.xml"/><Relationship Id="rId5" Type="http://schemas.openxmlformats.org/officeDocument/2006/relationships/font" Target="fonts/font2.fntdata"/><Relationship Id="rId10" Type="http://schemas.openxmlformats.org/officeDocument/2006/relationships/font" Target="fonts/font7.fntdata"/><Relationship Id="rId4" Type="http://schemas.openxmlformats.org/officeDocument/2006/relationships/font" Target="fonts/font1.fntdata"/><Relationship Id="rId9" Type="http://schemas.openxmlformats.org/officeDocument/2006/relationships/font" Target="fonts/font6.fntdata"/><Relationship Id="rId14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F1FEE7-94C4-4768-BEDF-302500ACB27D}" type="datetimeFigureOut">
              <a:rPr lang="en-US" smtClean="0"/>
              <a:t>5/2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EA1DA0-F146-464F-8D04-9152D1A463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67402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F1FEE7-94C4-4768-BEDF-302500ACB27D}" type="datetimeFigureOut">
              <a:rPr lang="en-US" smtClean="0"/>
              <a:t>5/2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EA1DA0-F146-464F-8D04-9152D1A463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46544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F1FEE7-94C4-4768-BEDF-302500ACB27D}" type="datetimeFigureOut">
              <a:rPr lang="en-US" smtClean="0"/>
              <a:t>5/2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EA1DA0-F146-464F-8D04-9152D1A463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2504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F1FEE7-94C4-4768-BEDF-302500ACB27D}" type="datetimeFigureOut">
              <a:rPr lang="en-US" smtClean="0"/>
              <a:t>5/2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EA1DA0-F146-464F-8D04-9152D1A463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80349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F1FEE7-94C4-4768-BEDF-302500ACB27D}" type="datetimeFigureOut">
              <a:rPr lang="en-US" smtClean="0"/>
              <a:t>5/2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EA1DA0-F146-464F-8D04-9152D1A463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54088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F1FEE7-94C4-4768-BEDF-302500ACB27D}" type="datetimeFigureOut">
              <a:rPr lang="en-US" smtClean="0"/>
              <a:t>5/24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EA1DA0-F146-464F-8D04-9152D1A463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3880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F1FEE7-94C4-4768-BEDF-302500ACB27D}" type="datetimeFigureOut">
              <a:rPr lang="en-US" smtClean="0"/>
              <a:t>5/24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EA1DA0-F146-464F-8D04-9152D1A463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32480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F1FEE7-94C4-4768-BEDF-302500ACB27D}" type="datetimeFigureOut">
              <a:rPr lang="en-US" smtClean="0"/>
              <a:t>5/24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EA1DA0-F146-464F-8D04-9152D1A463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43946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F1FEE7-94C4-4768-BEDF-302500ACB27D}" type="datetimeFigureOut">
              <a:rPr lang="en-US" smtClean="0"/>
              <a:t>5/24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EA1DA0-F146-464F-8D04-9152D1A463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29695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F1FEE7-94C4-4768-BEDF-302500ACB27D}" type="datetimeFigureOut">
              <a:rPr lang="en-US" smtClean="0"/>
              <a:t>5/24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EA1DA0-F146-464F-8D04-9152D1A463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08125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F1FEE7-94C4-4768-BEDF-302500ACB27D}" type="datetimeFigureOut">
              <a:rPr lang="en-US" smtClean="0"/>
              <a:t>5/24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EA1DA0-F146-464F-8D04-9152D1A463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72679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8F1FEE7-94C4-4768-BEDF-302500ACB27D}" type="datetimeFigureOut">
              <a:rPr lang="en-US" smtClean="0"/>
              <a:t>5/2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EA1DA0-F146-464F-8D04-9152D1A463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82551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tags" Target="../tags/tag3.xml"/><Relationship Id="rId7" Type="http://schemas.openxmlformats.org/officeDocument/2006/relationships/image" Target="../media/image1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5.xml"/><Relationship Id="rId10" Type="http://schemas.openxmlformats.org/officeDocument/2006/relationships/image" Target="../media/image4.svg"/><Relationship Id="rId4" Type="http://schemas.openxmlformats.org/officeDocument/2006/relationships/tags" Target="../tags/tag4.xml"/><Relationship Id="rId9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9" name="Group 178">
            <a:extLst>
              <a:ext uri="{FF2B5EF4-FFF2-40B4-BE49-F238E27FC236}">
                <a16:creationId xmlns:a16="http://schemas.microsoft.com/office/drawing/2014/main" id="{06516C71-2188-4AE5-A2C5-7D4084910F80}"/>
              </a:ext>
            </a:extLst>
          </p:cNvPr>
          <p:cNvGrpSpPr/>
          <p:nvPr/>
        </p:nvGrpSpPr>
        <p:grpSpPr>
          <a:xfrm>
            <a:off x="0" y="0"/>
            <a:ext cx="9889560" cy="6052653"/>
            <a:chOff x="0" y="0"/>
            <a:chExt cx="9889560" cy="6052653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518AA969-C7EC-4368-A2A1-9C9228D8EC95}"/>
                </a:ext>
              </a:extLst>
            </p:cNvPr>
            <p:cNvGrpSpPr/>
            <p:nvPr/>
          </p:nvGrpSpPr>
          <p:grpSpPr>
            <a:xfrm>
              <a:off x="0" y="0"/>
              <a:ext cx="9144000" cy="5652654"/>
              <a:chOff x="0" y="0"/>
              <a:chExt cx="9144000" cy="5652654"/>
            </a:xfrm>
          </p:grpSpPr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id="{F025DD43-EBB3-4873-8267-190C4BCC5544}"/>
                  </a:ext>
                </a:extLst>
              </p:cNvPr>
              <p:cNvSpPr/>
              <p:nvPr/>
            </p:nvSpPr>
            <p:spPr>
              <a:xfrm>
                <a:off x="0" y="4520045"/>
                <a:ext cx="9144000" cy="1132609"/>
              </a:xfrm>
              <a:prstGeom prst="rect">
                <a:avLst/>
              </a:prstGeom>
              <a:solidFill>
                <a:srgbClr val="89C4F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B3C068C3-E90F-4AE5-AECF-CE999269B738}"/>
                  </a:ext>
                </a:extLst>
              </p:cNvPr>
              <p:cNvSpPr/>
              <p:nvPr/>
            </p:nvSpPr>
            <p:spPr>
              <a:xfrm>
                <a:off x="0" y="3387436"/>
                <a:ext cx="9144000" cy="1132609"/>
              </a:xfrm>
              <a:prstGeom prst="rect">
                <a:avLst/>
              </a:prstGeom>
              <a:solidFill>
                <a:srgbClr val="59AB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421EBD27-0EDF-4807-BFCB-E5CB944E7D9B}"/>
                  </a:ext>
                </a:extLst>
              </p:cNvPr>
              <p:cNvSpPr/>
              <p:nvPr/>
            </p:nvSpPr>
            <p:spPr>
              <a:xfrm>
                <a:off x="0" y="2254972"/>
                <a:ext cx="9144000" cy="1132609"/>
              </a:xfrm>
              <a:prstGeom prst="rect">
                <a:avLst/>
              </a:prstGeom>
              <a:solidFill>
                <a:srgbClr val="3498D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15810F67-A733-4476-AE1D-3D1A0D4E511B}"/>
                  </a:ext>
                </a:extLst>
              </p:cNvPr>
              <p:cNvSpPr/>
              <p:nvPr/>
            </p:nvSpPr>
            <p:spPr>
              <a:xfrm>
                <a:off x="0" y="1132609"/>
                <a:ext cx="9144000" cy="1132609"/>
              </a:xfrm>
              <a:prstGeom prst="rect">
                <a:avLst/>
              </a:prstGeom>
              <a:solidFill>
                <a:srgbClr val="2574A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06E7D7E9-0A88-4088-9005-D2E52895223B}"/>
                  </a:ext>
                </a:extLst>
              </p:cNvPr>
              <p:cNvSpPr/>
              <p:nvPr/>
            </p:nvSpPr>
            <p:spPr>
              <a:xfrm>
                <a:off x="0" y="0"/>
                <a:ext cx="9144000" cy="1132609"/>
              </a:xfrm>
              <a:prstGeom prst="rect">
                <a:avLst/>
              </a:prstGeom>
              <a:solidFill>
                <a:srgbClr val="3A539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178" name="Graphic 177" descr="Cloud">
              <a:extLst>
                <a:ext uri="{FF2B5EF4-FFF2-40B4-BE49-F238E27FC236}">
                  <a16:creationId xmlns:a16="http://schemas.microsoft.com/office/drawing/2014/main" id="{BCFD535A-81E8-4144-BD31-A0802EC81C0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flipH="1">
              <a:off x="829784" y="4381512"/>
              <a:ext cx="1671141" cy="1671141"/>
            </a:xfrm>
            <a:prstGeom prst="rect">
              <a:avLst/>
            </a:prstGeom>
          </p:spPr>
        </p:pic>
        <p:pic>
          <p:nvPicPr>
            <p:cNvPr id="161" name="Graphic 160" descr="Cloud">
              <a:extLst>
                <a:ext uri="{FF2B5EF4-FFF2-40B4-BE49-F238E27FC236}">
                  <a16:creationId xmlns:a16="http://schemas.microsoft.com/office/drawing/2014/main" id="{ACCEA0CA-F80C-4A84-9435-F57A75E0D1F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065708" y="4859547"/>
              <a:ext cx="914400" cy="914400"/>
            </a:xfrm>
            <a:prstGeom prst="rect">
              <a:avLst/>
            </a:prstGeom>
          </p:spPr>
        </p:pic>
        <p:pic>
          <p:nvPicPr>
            <p:cNvPr id="180" name="Graphic 179" descr="Cloud">
              <a:extLst>
                <a:ext uri="{FF2B5EF4-FFF2-40B4-BE49-F238E27FC236}">
                  <a16:creationId xmlns:a16="http://schemas.microsoft.com/office/drawing/2014/main" id="{8A6086FF-F340-451F-9BAF-8121DA7218D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19457314" flipH="1">
              <a:off x="8218419" y="4001657"/>
              <a:ext cx="1671141" cy="1671141"/>
            </a:xfrm>
            <a:prstGeom prst="rect">
              <a:avLst/>
            </a:prstGeom>
          </p:spPr>
        </p:pic>
      </p:grp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ED76BB43-27F4-44BF-8D69-92786896B73F}"/>
              </a:ext>
            </a:extLst>
          </p:cNvPr>
          <p:cNvSpPr/>
          <p:nvPr/>
        </p:nvSpPr>
        <p:spPr>
          <a:xfrm>
            <a:off x="-815839" y="5217142"/>
            <a:ext cx="10969696" cy="573744"/>
          </a:xfrm>
          <a:custGeom>
            <a:avLst/>
            <a:gdLst>
              <a:gd name="connsiteX0" fmla="*/ 649584 w 10969696"/>
              <a:gd name="connsiteY0" fmla="*/ 435513 h 573744"/>
              <a:gd name="connsiteX1" fmla="*/ 992484 w 10969696"/>
              <a:gd name="connsiteY1" fmla="*/ 341994 h 573744"/>
              <a:gd name="connsiteX2" fmla="*/ 1418512 w 10969696"/>
              <a:gd name="connsiteY2" fmla="*/ 331603 h 573744"/>
              <a:gd name="connsiteX3" fmla="*/ 2270566 w 10969696"/>
              <a:gd name="connsiteY3" fmla="*/ 217303 h 573744"/>
              <a:gd name="connsiteX4" fmla="*/ 2634248 w 10969696"/>
              <a:gd name="connsiteY4" fmla="*/ 206913 h 573744"/>
              <a:gd name="connsiteX5" fmla="*/ 3372003 w 10969696"/>
              <a:gd name="connsiteY5" fmla="*/ 113394 h 573744"/>
              <a:gd name="connsiteX6" fmla="*/ 3735684 w 10969696"/>
              <a:gd name="connsiteY6" fmla="*/ 103003 h 573744"/>
              <a:gd name="connsiteX7" fmla="*/ 3933112 w 10969696"/>
              <a:gd name="connsiteY7" fmla="*/ 258867 h 573744"/>
              <a:gd name="connsiteX8" fmla="*/ 4068194 w 10969696"/>
              <a:gd name="connsiteY8" fmla="*/ 341994 h 573744"/>
              <a:gd name="connsiteX9" fmla="*/ 4286403 w 10969696"/>
              <a:gd name="connsiteY9" fmla="*/ 383558 h 573744"/>
              <a:gd name="connsiteX10" fmla="*/ 4556566 w 10969696"/>
              <a:gd name="connsiteY10" fmla="*/ 404340 h 573744"/>
              <a:gd name="connsiteX11" fmla="*/ 5148848 w 10969696"/>
              <a:gd name="connsiteY11" fmla="*/ 383558 h 573744"/>
              <a:gd name="connsiteX12" fmla="*/ 5263148 w 10969696"/>
              <a:gd name="connsiteY12" fmla="*/ 300431 h 573744"/>
              <a:gd name="connsiteX13" fmla="*/ 5315103 w 10969696"/>
              <a:gd name="connsiteY13" fmla="*/ 248476 h 573744"/>
              <a:gd name="connsiteX14" fmla="*/ 5554094 w 10969696"/>
              <a:gd name="connsiteY14" fmla="*/ 186131 h 573744"/>
              <a:gd name="connsiteX15" fmla="*/ 5876212 w 10969696"/>
              <a:gd name="connsiteY15" fmla="*/ 186131 h 573744"/>
              <a:gd name="connsiteX16" fmla="*/ 6271066 w 10969696"/>
              <a:gd name="connsiteY16" fmla="*/ 227694 h 573744"/>
              <a:gd name="connsiteX17" fmla="*/ 6447712 w 10969696"/>
              <a:gd name="connsiteY17" fmla="*/ 331603 h 573744"/>
              <a:gd name="connsiteX18" fmla="*/ 6676312 w 10969696"/>
              <a:gd name="connsiteY18" fmla="*/ 383558 h 573744"/>
              <a:gd name="connsiteX19" fmla="*/ 6977648 w 10969696"/>
              <a:gd name="connsiteY19" fmla="*/ 341994 h 573744"/>
              <a:gd name="connsiteX20" fmla="*/ 7372503 w 10969696"/>
              <a:gd name="connsiteY20" fmla="*/ 300431 h 573744"/>
              <a:gd name="connsiteX21" fmla="*/ 7684230 w 10969696"/>
              <a:gd name="connsiteY21" fmla="*/ 310822 h 573744"/>
              <a:gd name="connsiteX22" fmla="*/ 8079084 w 10969696"/>
              <a:gd name="connsiteY22" fmla="*/ 362776 h 573744"/>
              <a:gd name="connsiteX23" fmla="*/ 8536284 w 10969696"/>
              <a:gd name="connsiteY23" fmla="*/ 373167 h 573744"/>
              <a:gd name="connsiteX24" fmla="*/ 9024657 w 10969696"/>
              <a:gd name="connsiteY24" fmla="*/ 248476 h 573744"/>
              <a:gd name="connsiteX25" fmla="*/ 9429903 w 10969696"/>
              <a:gd name="connsiteY25" fmla="*/ 175740 h 573744"/>
              <a:gd name="connsiteX26" fmla="*/ 9752021 w 10969696"/>
              <a:gd name="connsiteY26" fmla="*/ 134176 h 573744"/>
              <a:gd name="connsiteX27" fmla="*/ 10011794 w 10969696"/>
              <a:gd name="connsiteY27" fmla="*/ 40658 h 573744"/>
              <a:gd name="connsiteX28" fmla="*/ 10313130 w 10969696"/>
              <a:gd name="connsiteY28" fmla="*/ 40658 h 573744"/>
              <a:gd name="connsiteX29" fmla="*/ 10230003 w 10969696"/>
              <a:gd name="connsiteY29" fmla="*/ 539422 h 573744"/>
              <a:gd name="connsiteX30" fmla="*/ 743103 w 10969696"/>
              <a:gd name="connsiteY30" fmla="*/ 518640 h 573744"/>
              <a:gd name="connsiteX31" fmla="*/ 649584 w 10969696"/>
              <a:gd name="connsiteY31" fmla="*/ 435513 h 573744"/>
              <a:gd name="connsiteX0" fmla="*/ 649584 w 10969696"/>
              <a:gd name="connsiteY0" fmla="*/ 435513 h 573744"/>
              <a:gd name="connsiteX1" fmla="*/ 992484 w 10969696"/>
              <a:gd name="connsiteY1" fmla="*/ 341994 h 573744"/>
              <a:gd name="connsiteX2" fmla="*/ 1418512 w 10969696"/>
              <a:gd name="connsiteY2" fmla="*/ 331603 h 573744"/>
              <a:gd name="connsiteX3" fmla="*/ 2270566 w 10969696"/>
              <a:gd name="connsiteY3" fmla="*/ 217303 h 573744"/>
              <a:gd name="connsiteX4" fmla="*/ 2634248 w 10969696"/>
              <a:gd name="connsiteY4" fmla="*/ 206913 h 573744"/>
              <a:gd name="connsiteX5" fmla="*/ 3372003 w 10969696"/>
              <a:gd name="connsiteY5" fmla="*/ 113394 h 573744"/>
              <a:gd name="connsiteX6" fmla="*/ 3735684 w 10969696"/>
              <a:gd name="connsiteY6" fmla="*/ 103003 h 573744"/>
              <a:gd name="connsiteX7" fmla="*/ 3933112 w 10969696"/>
              <a:gd name="connsiteY7" fmla="*/ 258867 h 573744"/>
              <a:gd name="connsiteX8" fmla="*/ 4068194 w 10969696"/>
              <a:gd name="connsiteY8" fmla="*/ 341994 h 573744"/>
              <a:gd name="connsiteX9" fmla="*/ 4286403 w 10969696"/>
              <a:gd name="connsiteY9" fmla="*/ 383558 h 573744"/>
              <a:gd name="connsiteX10" fmla="*/ 4621112 w 10969696"/>
              <a:gd name="connsiteY10" fmla="*/ 221460 h 573744"/>
              <a:gd name="connsiteX11" fmla="*/ 5148848 w 10969696"/>
              <a:gd name="connsiteY11" fmla="*/ 383558 h 573744"/>
              <a:gd name="connsiteX12" fmla="*/ 5263148 w 10969696"/>
              <a:gd name="connsiteY12" fmla="*/ 300431 h 573744"/>
              <a:gd name="connsiteX13" fmla="*/ 5315103 w 10969696"/>
              <a:gd name="connsiteY13" fmla="*/ 248476 h 573744"/>
              <a:gd name="connsiteX14" fmla="*/ 5554094 w 10969696"/>
              <a:gd name="connsiteY14" fmla="*/ 186131 h 573744"/>
              <a:gd name="connsiteX15" fmla="*/ 5876212 w 10969696"/>
              <a:gd name="connsiteY15" fmla="*/ 186131 h 573744"/>
              <a:gd name="connsiteX16" fmla="*/ 6271066 w 10969696"/>
              <a:gd name="connsiteY16" fmla="*/ 227694 h 573744"/>
              <a:gd name="connsiteX17" fmla="*/ 6447712 w 10969696"/>
              <a:gd name="connsiteY17" fmla="*/ 331603 h 573744"/>
              <a:gd name="connsiteX18" fmla="*/ 6676312 w 10969696"/>
              <a:gd name="connsiteY18" fmla="*/ 383558 h 573744"/>
              <a:gd name="connsiteX19" fmla="*/ 6977648 w 10969696"/>
              <a:gd name="connsiteY19" fmla="*/ 341994 h 573744"/>
              <a:gd name="connsiteX20" fmla="*/ 7372503 w 10969696"/>
              <a:gd name="connsiteY20" fmla="*/ 300431 h 573744"/>
              <a:gd name="connsiteX21" fmla="*/ 7684230 w 10969696"/>
              <a:gd name="connsiteY21" fmla="*/ 310822 h 573744"/>
              <a:gd name="connsiteX22" fmla="*/ 8079084 w 10969696"/>
              <a:gd name="connsiteY22" fmla="*/ 362776 h 573744"/>
              <a:gd name="connsiteX23" fmla="*/ 8536284 w 10969696"/>
              <a:gd name="connsiteY23" fmla="*/ 373167 h 573744"/>
              <a:gd name="connsiteX24" fmla="*/ 9024657 w 10969696"/>
              <a:gd name="connsiteY24" fmla="*/ 248476 h 573744"/>
              <a:gd name="connsiteX25" fmla="*/ 9429903 w 10969696"/>
              <a:gd name="connsiteY25" fmla="*/ 175740 h 573744"/>
              <a:gd name="connsiteX26" fmla="*/ 9752021 w 10969696"/>
              <a:gd name="connsiteY26" fmla="*/ 134176 h 573744"/>
              <a:gd name="connsiteX27" fmla="*/ 10011794 w 10969696"/>
              <a:gd name="connsiteY27" fmla="*/ 40658 h 573744"/>
              <a:gd name="connsiteX28" fmla="*/ 10313130 w 10969696"/>
              <a:gd name="connsiteY28" fmla="*/ 40658 h 573744"/>
              <a:gd name="connsiteX29" fmla="*/ 10230003 w 10969696"/>
              <a:gd name="connsiteY29" fmla="*/ 539422 h 573744"/>
              <a:gd name="connsiteX30" fmla="*/ 743103 w 10969696"/>
              <a:gd name="connsiteY30" fmla="*/ 518640 h 573744"/>
              <a:gd name="connsiteX31" fmla="*/ 649584 w 10969696"/>
              <a:gd name="connsiteY31" fmla="*/ 435513 h 573744"/>
              <a:gd name="connsiteX0" fmla="*/ 649584 w 10969696"/>
              <a:gd name="connsiteY0" fmla="*/ 435513 h 573744"/>
              <a:gd name="connsiteX1" fmla="*/ 992484 w 10969696"/>
              <a:gd name="connsiteY1" fmla="*/ 341994 h 573744"/>
              <a:gd name="connsiteX2" fmla="*/ 1418512 w 10969696"/>
              <a:gd name="connsiteY2" fmla="*/ 331603 h 573744"/>
              <a:gd name="connsiteX3" fmla="*/ 2270566 w 10969696"/>
              <a:gd name="connsiteY3" fmla="*/ 217303 h 573744"/>
              <a:gd name="connsiteX4" fmla="*/ 2634248 w 10969696"/>
              <a:gd name="connsiteY4" fmla="*/ 206913 h 573744"/>
              <a:gd name="connsiteX5" fmla="*/ 3372003 w 10969696"/>
              <a:gd name="connsiteY5" fmla="*/ 113394 h 573744"/>
              <a:gd name="connsiteX6" fmla="*/ 3735684 w 10969696"/>
              <a:gd name="connsiteY6" fmla="*/ 103003 h 573744"/>
              <a:gd name="connsiteX7" fmla="*/ 3933112 w 10969696"/>
              <a:gd name="connsiteY7" fmla="*/ 258867 h 573744"/>
              <a:gd name="connsiteX8" fmla="*/ 4068194 w 10969696"/>
              <a:gd name="connsiteY8" fmla="*/ 341994 h 573744"/>
              <a:gd name="connsiteX9" fmla="*/ 4286403 w 10969696"/>
              <a:gd name="connsiteY9" fmla="*/ 383558 h 573744"/>
              <a:gd name="connsiteX10" fmla="*/ 4621112 w 10969696"/>
              <a:gd name="connsiteY10" fmla="*/ 221460 h 573744"/>
              <a:gd name="connsiteX11" fmla="*/ 5148848 w 10969696"/>
              <a:gd name="connsiteY11" fmla="*/ 383558 h 573744"/>
              <a:gd name="connsiteX12" fmla="*/ 5263148 w 10969696"/>
              <a:gd name="connsiteY12" fmla="*/ 300431 h 573744"/>
              <a:gd name="connsiteX13" fmla="*/ 5315103 w 10969696"/>
              <a:gd name="connsiteY13" fmla="*/ 248476 h 573744"/>
              <a:gd name="connsiteX14" fmla="*/ 5554094 w 10969696"/>
              <a:gd name="connsiteY14" fmla="*/ 186131 h 573744"/>
              <a:gd name="connsiteX15" fmla="*/ 5940757 w 10969696"/>
              <a:gd name="connsiteY15" fmla="*/ 14008 h 573744"/>
              <a:gd name="connsiteX16" fmla="*/ 6271066 w 10969696"/>
              <a:gd name="connsiteY16" fmla="*/ 227694 h 573744"/>
              <a:gd name="connsiteX17" fmla="*/ 6447712 w 10969696"/>
              <a:gd name="connsiteY17" fmla="*/ 331603 h 573744"/>
              <a:gd name="connsiteX18" fmla="*/ 6676312 w 10969696"/>
              <a:gd name="connsiteY18" fmla="*/ 383558 h 573744"/>
              <a:gd name="connsiteX19" fmla="*/ 6977648 w 10969696"/>
              <a:gd name="connsiteY19" fmla="*/ 341994 h 573744"/>
              <a:gd name="connsiteX20" fmla="*/ 7372503 w 10969696"/>
              <a:gd name="connsiteY20" fmla="*/ 300431 h 573744"/>
              <a:gd name="connsiteX21" fmla="*/ 7684230 w 10969696"/>
              <a:gd name="connsiteY21" fmla="*/ 310822 h 573744"/>
              <a:gd name="connsiteX22" fmla="*/ 8079084 w 10969696"/>
              <a:gd name="connsiteY22" fmla="*/ 362776 h 573744"/>
              <a:gd name="connsiteX23" fmla="*/ 8536284 w 10969696"/>
              <a:gd name="connsiteY23" fmla="*/ 373167 h 573744"/>
              <a:gd name="connsiteX24" fmla="*/ 9024657 w 10969696"/>
              <a:gd name="connsiteY24" fmla="*/ 248476 h 573744"/>
              <a:gd name="connsiteX25" fmla="*/ 9429903 w 10969696"/>
              <a:gd name="connsiteY25" fmla="*/ 175740 h 573744"/>
              <a:gd name="connsiteX26" fmla="*/ 9752021 w 10969696"/>
              <a:gd name="connsiteY26" fmla="*/ 134176 h 573744"/>
              <a:gd name="connsiteX27" fmla="*/ 10011794 w 10969696"/>
              <a:gd name="connsiteY27" fmla="*/ 40658 h 573744"/>
              <a:gd name="connsiteX28" fmla="*/ 10313130 w 10969696"/>
              <a:gd name="connsiteY28" fmla="*/ 40658 h 573744"/>
              <a:gd name="connsiteX29" fmla="*/ 10230003 w 10969696"/>
              <a:gd name="connsiteY29" fmla="*/ 539422 h 573744"/>
              <a:gd name="connsiteX30" fmla="*/ 743103 w 10969696"/>
              <a:gd name="connsiteY30" fmla="*/ 518640 h 573744"/>
              <a:gd name="connsiteX31" fmla="*/ 649584 w 10969696"/>
              <a:gd name="connsiteY31" fmla="*/ 435513 h 573744"/>
              <a:gd name="connsiteX0" fmla="*/ 649584 w 10969696"/>
              <a:gd name="connsiteY0" fmla="*/ 435513 h 573744"/>
              <a:gd name="connsiteX1" fmla="*/ 992484 w 10969696"/>
              <a:gd name="connsiteY1" fmla="*/ 341994 h 573744"/>
              <a:gd name="connsiteX2" fmla="*/ 1418512 w 10969696"/>
              <a:gd name="connsiteY2" fmla="*/ 331603 h 573744"/>
              <a:gd name="connsiteX3" fmla="*/ 2270566 w 10969696"/>
              <a:gd name="connsiteY3" fmla="*/ 217303 h 573744"/>
              <a:gd name="connsiteX4" fmla="*/ 2634248 w 10969696"/>
              <a:gd name="connsiteY4" fmla="*/ 206913 h 573744"/>
              <a:gd name="connsiteX5" fmla="*/ 3372003 w 10969696"/>
              <a:gd name="connsiteY5" fmla="*/ 113394 h 573744"/>
              <a:gd name="connsiteX6" fmla="*/ 3735684 w 10969696"/>
              <a:gd name="connsiteY6" fmla="*/ 103003 h 573744"/>
              <a:gd name="connsiteX7" fmla="*/ 3933112 w 10969696"/>
              <a:gd name="connsiteY7" fmla="*/ 258867 h 573744"/>
              <a:gd name="connsiteX8" fmla="*/ 4068194 w 10969696"/>
              <a:gd name="connsiteY8" fmla="*/ 341994 h 573744"/>
              <a:gd name="connsiteX9" fmla="*/ 4286403 w 10969696"/>
              <a:gd name="connsiteY9" fmla="*/ 383558 h 573744"/>
              <a:gd name="connsiteX10" fmla="*/ 4621112 w 10969696"/>
              <a:gd name="connsiteY10" fmla="*/ 221460 h 573744"/>
              <a:gd name="connsiteX11" fmla="*/ 5148848 w 10969696"/>
              <a:gd name="connsiteY11" fmla="*/ 383558 h 573744"/>
              <a:gd name="connsiteX12" fmla="*/ 5263148 w 10969696"/>
              <a:gd name="connsiteY12" fmla="*/ 300431 h 573744"/>
              <a:gd name="connsiteX13" fmla="*/ 5315103 w 10969696"/>
              <a:gd name="connsiteY13" fmla="*/ 248476 h 573744"/>
              <a:gd name="connsiteX14" fmla="*/ 5554094 w 10969696"/>
              <a:gd name="connsiteY14" fmla="*/ 186131 h 573744"/>
              <a:gd name="connsiteX15" fmla="*/ 5940757 w 10969696"/>
              <a:gd name="connsiteY15" fmla="*/ 14008 h 573744"/>
              <a:gd name="connsiteX16" fmla="*/ 6271066 w 10969696"/>
              <a:gd name="connsiteY16" fmla="*/ 227694 h 573744"/>
              <a:gd name="connsiteX17" fmla="*/ 6447712 w 10969696"/>
              <a:gd name="connsiteY17" fmla="*/ 331603 h 573744"/>
              <a:gd name="connsiteX18" fmla="*/ 6676312 w 10969696"/>
              <a:gd name="connsiteY18" fmla="*/ 383558 h 573744"/>
              <a:gd name="connsiteX19" fmla="*/ 6977648 w 10969696"/>
              <a:gd name="connsiteY19" fmla="*/ 341994 h 573744"/>
              <a:gd name="connsiteX20" fmla="*/ 7372503 w 10969696"/>
              <a:gd name="connsiteY20" fmla="*/ 300431 h 573744"/>
              <a:gd name="connsiteX21" fmla="*/ 7684230 w 10969696"/>
              <a:gd name="connsiteY21" fmla="*/ 310822 h 573744"/>
              <a:gd name="connsiteX22" fmla="*/ 8079084 w 10969696"/>
              <a:gd name="connsiteY22" fmla="*/ 362776 h 573744"/>
              <a:gd name="connsiteX23" fmla="*/ 8536284 w 10969696"/>
              <a:gd name="connsiteY23" fmla="*/ 373167 h 573744"/>
              <a:gd name="connsiteX24" fmla="*/ 9024657 w 10969696"/>
              <a:gd name="connsiteY24" fmla="*/ 248476 h 573744"/>
              <a:gd name="connsiteX25" fmla="*/ 9429903 w 10969696"/>
              <a:gd name="connsiteY25" fmla="*/ 175740 h 573744"/>
              <a:gd name="connsiteX26" fmla="*/ 9752021 w 10969696"/>
              <a:gd name="connsiteY26" fmla="*/ 134176 h 573744"/>
              <a:gd name="connsiteX27" fmla="*/ 10011794 w 10969696"/>
              <a:gd name="connsiteY27" fmla="*/ 40658 h 573744"/>
              <a:gd name="connsiteX28" fmla="*/ 10313130 w 10969696"/>
              <a:gd name="connsiteY28" fmla="*/ 40658 h 573744"/>
              <a:gd name="connsiteX29" fmla="*/ 10230003 w 10969696"/>
              <a:gd name="connsiteY29" fmla="*/ 539422 h 573744"/>
              <a:gd name="connsiteX30" fmla="*/ 743103 w 10969696"/>
              <a:gd name="connsiteY30" fmla="*/ 518640 h 573744"/>
              <a:gd name="connsiteX31" fmla="*/ 649584 w 10969696"/>
              <a:gd name="connsiteY31" fmla="*/ 435513 h 573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10969696" h="573744">
                <a:moveTo>
                  <a:pt x="649584" y="435513"/>
                </a:moveTo>
                <a:cubicBezTo>
                  <a:pt x="691147" y="406072"/>
                  <a:pt x="864329" y="359312"/>
                  <a:pt x="992484" y="341994"/>
                </a:cubicBezTo>
                <a:cubicBezTo>
                  <a:pt x="1120639" y="324676"/>
                  <a:pt x="1205498" y="352385"/>
                  <a:pt x="1418512" y="331603"/>
                </a:cubicBezTo>
                <a:cubicBezTo>
                  <a:pt x="1631526" y="310821"/>
                  <a:pt x="2067943" y="238085"/>
                  <a:pt x="2270566" y="217303"/>
                </a:cubicBezTo>
                <a:cubicBezTo>
                  <a:pt x="2473189" y="196521"/>
                  <a:pt x="2450675" y="224231"/>
                  <a:pt x="2634248" y="206913"/>
                </a:cubicBezTo>
                <a:cubicBezTo>
                  <a:pt x="2817821" y="189595"/>
                  <a:pt x="3188430" y="130712"/>
                  <a:pt x="3372003" y="113394"/>
                </a:cubicBezTo>
                <a:cubicBezTo>
                  <a:pt x="3555576" y="96076"/>
                  <a:pt x="3642166" y="78758"/>
                  <a:pt x="3735684" y="103003"/>
                </a:cubicBezTo>
                <a:cubicBezTo>
                  <a:pt x="3829202" y="127248"/>
                  <a:pt x="3877694" y="219035"/>
                  <a:pt x="3933112" y="258867"/>
                </a:cubicBezTo>
                <a:cubicBezTo>
                  <a:pt x="3988530" y="298699"/>
                  <a:pt x="4009312" y="321212"/>
                  <a:pt x="4068194" y="341994"/>
                </a:cubicBezTo>
                <a:cubicBezTo>
                  <a:pt x="4127076" y="362776"/>
                  <a:pt x="4194250" y="403647"/>
                  <a:pt x="4286403" y="383558"/>
                </a:cubicBezTo>
                <a:cubicBezTo>
                  <a:pt x="4378556" y="363469"/>
                  <a:pt x="4477371" y="221460"/>
                  <a:pt x="4621112" y="221460"/>
                </a:cubicBezTo>
                <a:cubicBezTo>
                  <a:pt x="4764853" y="221460"/>
                  <a:pt x="5041842" y="370396"/>
                  <a:pt x="5148848" y="383558"/>
                </a:cubicBezTo>
                <a:cubicBezTo>
                  <a:pt x="5255854" y="396720"/>
                  <a:pt x="5235439" y="322945"/>
                  <a:pt x="5263148" y="300431"/>
                </a:cubicBezTo>
                <a:cubicBezTo>
                  <a:pt x="5290857" y="277917"/>
                  <a:pt x="5266612" y="267526"/>
                  <a:pt x="5315103" y="248476"/>
                </a:cubicBezTo>
                <a:cubicBezTo>
                  <a:pt x="5363594" y="229426"/>
                  <a:pt x="5449818" y="225209"/>
                  <a:pt x="5554094" y="186131"/>
                </a:cubicBezTo>
                <a:cubicBezTo>
                  <a:pt x="5658370" y="147053"/>
                  <a:pt x="5821262" y="7081"/>
                  <a:pt x="5940757" y="14008"/>
                </a:cubicBezTo>
                <a:cubicBezTo>
                  <a:pt x="6060252" y="20935"/>
                  <a:pt x="6186574" y="174762"/>
                  <a:pt x="6271066" y="227694"/>
                </a:cubicBezTo>
                <a:cubicBezTo>
                  <a:pt x="6355558" y="280626"/>
                  <a:pt x="6380171" y="305626"/>
                  <a:pt x="6447712" y="331603"/>
                </a:cubicBezTo>
                <a:cubicBezTo>
                  <a:pt x="6515253" y="357580"/>
                  <a:pt x="6587989" y="381826"/>
                  <a:pt x="6676312" y="383558"/>
                </a:cubicBezTo>
                <a:cubicBezTo>
                  <a:pt x="6764635" y="385290"/>
                  <a:pt x="6861616" y="355848"/>
                  <a:pt x="6977648" y="341994"/>
                </a:cubicBezTo>
                <a:cubicBezTo>
                  <a:pt x="7093680" y="328140"/>
                  <a:pt x="7254739" y="305626"/>
                  <a:pt x="7372503" y="300431"/>
                </a:cubicBezTo>
                <a:cubicBezTo>
                  <a:pt x="7490267" y="295236"/>
                  <a:pt x="7566466" y="300431"/>
                  <a:pt x="7684230" y="310822"/>
                </a:cubicBezTo>
                <a:cubicBezTo>
                  <a:pt x="7801994" y="321213"/>
                  <a:pt x="7937075" y="352385"/>
                  <a:pt x="8079084" y="362776"/>
                </a:cubicBezTo>
                <a:cubicBezTo>
                  <a:pt x="8221093" y="373167"/>
                  <a:pt x="8378689" y="392217"/>
                  <a:pt x="8536284" y="373167"/>
                </a:cubicBezTo>
                <a:cubicBezTo>
                  <a:pt x="8693880" y="354117"/>
                  <a:pt x="8875721" y="281380"/>
                  <a:pt x="9024657" y="248476"/>
                </a:cubicBezTo>
                <a:cubicBezTo>
                  <a:pt x="9173593" y="215572"/>
                  <a:pt x="9308676" y="194790"/>
                  <a:pt x="9429903" y="175740"/>
                </a:cubicBezTo>
                <a:cubicBezTo>
                  <a:pt x="9551130" y="156690"/>
                  <a:pt x="9655039" y="156690"/>
                  <a:pt x="9752021" y="134176"/>
                </a:cubicBezTo>
                <a:cubicBezTo>
                  <a:pt x="9849003" y="111662"/>
                  <a:pt x="9918276" y="56244"/>
                  <a:pt x="10011794" y="40658"/>
                </a:cubicBezTo>
                <a:cubicBezTo>
                  <a:pt x="10105312" y="25072"/>
                  <a:pt x="10276762" y="-42469"/>
                  <a:pt x="10313130" y="40658"/>
                </a:cubicBezTo>
                <a:cubicBezTo>
                  <a:pt x="10349498" y="123785"/>
                  <a:pt x="11825007" y="459758"/>
                  <a:pt x="10230003" y="539422"/>
                </a:cubicBezTo>
                <a:cubicBezTo>
                  <a:pt x="8968486" y="619086"/>
                  <a:pt x="2336376" y="537690"/>
                  <a:pt x="743103" y="518640"/>
                </a:cubicBezTo>
                <a:cubicBezTo>
                  <a:pt x="-850170" y="499590"/>
                  <a:pt x="608021" y="464954"/>
                  <a:pt x="649584" y="435513"/>
                </a:cubicBezTo>
                <a:close/>
              </a:path>
            </a:pathLst>
          </a:custGeom>
          <a:gradFill>
            <a:gsLst>
              <a:gs pos="0">
                <a:srgbClr val="89C4F4"/>
              </a:gs>
              <a:gs pos="68000">
                <a:srgbClr val="3A539B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86B575E-DCCA-46D3-9B88-B6CBC3EAC407}"/>
              </a:ext>
            </a:extLst>
          </p:cNvPr>
          <p:cNvSpPr/>
          <p:nvPr/>
        </p:nvSpPr>
        <p:spPr>
          <a:xfrm>
            <a:off x="0" y="5652509"/>
            <a:ext cx="9144000" cy="1205491"/>
          </a:xfrm>
          <a:prstGeom prst="rect">
            <a:avLst/>
          </a:prstGeom>
          <a:solidFill>
            <a:srgbClr val="2ECC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83DEF11-8FF9-45DA-91CC-49EF27622561}"/>
              </a:ext>
            </a:extLst>
          </p:cNvPr>
          <p:cNvGrpSpPr/>
          <p:nvPr/>
        </p:nvGrpSpPr>
        <p:grpSpPr>
          <a:xfrm flipH="1">
            <a:off x="778686" y="5195019"/>
            <a:ext cx="833117" cy="1407865"/>
            <a:chOff x="2820309" y="378736"/>
            <a:chExt cx="3654564" cy="6175768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A1B94C1F-0275-4F26-A339-21F3771A837A}"/>
                </a:ext>
              </a:extLst>
            </p:cNvPr>
            <p:cNvSpPr/>
            <p:nvPr/>
          </p:nvSpPr>
          <p:spPr>
            <a:xfrm>
              <a:off x="3007972" y="6213531"/>
              <a:ext cx="2917599" cy="340973"/>
            </a:xfrm>
            <a:prstGeom prst="ellipse">
              <a:avLst/>
            </a:prstGeom>
            <a:solidFill>
              <a:schemeClr val="tx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2E9EF5FF-11F0-47E0-8FED-725E32DAF909}"/>
                </a:ext>
              </a:extLst>
            </p:cNvPr>
            <p:cNvGrpSpPr/>
            <p:nvPr/>
          </p:nvGrpSpPr>
          <p:grpSpPr>
            <a:xfrm>
              <a:off x="2820309" y="378736"/>
              <a:ext cx="3654564" cy="6005282"/>
              <a:chOff x="2820309" y="378736"/>
              <a:chExt cx="3654564" cy="6005282"/>
            </a:xfrm>
          </p:grpSpPr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3EC1C92F-4C15-459D-AA76-7EE87F74932D}"/>
                  </a:ext>
                </a:extLst>
              </p:cNvPr>
              <p:cNvSpPr/>
              <p:nvPr/>
            </p:nvSpPr>
            <p:spPr>
              <a:xfrm>
                <a:off x="3147673" y="871875"/>
                <a:ext cx="2892653" cy="2892653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D4EB429C-11CD-4B1C-BEBE-D2DD0FE97D79}"/>
                  </a:ext>
                </a:extLst>
              </p:cNvPr>
              <p:cNvSpPr/>
              <p:nvPr/>
            </p:nvSpPr>
            <p:spPr>
              <a:xfrm>
                <a:off x="3922657" y="2642142"/>
                <a:ext cx="745216" cy="745216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0A6E2803-D87C-4ECF-93FB-AC967A328A01}"/>
                  </a:ext>
                </a:extLst>
              </p:cNvPr>
              <p:cNvGrpSpPr/>
              <p:nvPr/>
            </p:nvGrpSpPr>
            <p:grpSpPr>
              <a:xfrm>
                <a:off x="3439887" y="473982"/>
                <a:ext cx="2026556" cy="5910036"/>
                <a:chOff x="7271658" y="947964"/>
                <a:chExt cx="2026556" cy="5910036"/>
              </a:xfrm>
            </p:grpSpPr>
            <p:grpSp>
              <p:nvGrpSpPr>
                <p:cNvPr id="31" name="Group 30">
                  <a:extLst>
                    <a:ext uri="{FF2B5EF4-FFF2-40B4-BE49-F238E27FC236}">
                      <a16:creationId xmlns:a16="http://schemas.microsoft.com/office/drawing/2014/main" id="{7C065D82-EADC-4BD8-9D38-4E89E35540D0}"/>
                    </a:ext>
                  </a:extLst>
                </p:cNvPr>
                <p:cNvGrpSpPr/>
                <p:nvPr/>
              </p:nvGrpSpPr>
              <p:grpSpPr>
                <a:xfrm>
                  <a:off x="8069943" y="2324100"/>
                  <a:ext cx="457200" cy="4533900"/>
                  <a:chOff x="8069943" y="2324100"/>
                  <a:chExt cx="457200" cy="4533900"/>
                </a:xfrm>
              </p:grpSpPr>
              <p:sp>
                <p:nvSpPr>
                  <p:cNvPr id="36" name="Freeform: Shape 35">
                    <a:extLst>
                      <a:ext uri="{FF2B5EF4-FFF2-40B4-BE49-F238E27FC236}">
                        <a16:creationId xmlns:a16="http://schemas.microsoft.com/office/drawing/2014/main" id="{D4F89029-9C1F-40CF-8080-02A8A3C0BE5B}"/>
                      </a:ext>
                    </a:extLst>
                  </p:cNvPr>
                  <p:cNvSpPr/>
                  <p:nvPr/>
                </p:nvSpPr>
                <p:spPr>
                  <a:xfrm>
                    <a:off x="8298543" y="2324100"/>
                    <a:ext cx="228600" cy="4533900"/>
                  </a:xfrm>
                  <a:custGeom>
                    <a:avLst/>
                    <a:gdLst>
                      <a:gd name="connsiteX0" fmla="*/ 0 w 228600"/>
                      <a:gd name="connsiteY0" fmla="*/ 0 h 4533900"/>
                      <a:gd name="connsiteX1" fmla="*/ 114300 w 228600"/>
                      <a:gd name="connsiteY1" fmla="*/ 0 h 4533900"/>
                      <a:gd name="connsiteX2" fmla="*/ 228600 w 228600"/>
                      <a:gd name="connsiteY2" fmla="*/ 4533900 h 4533900"/>
                      <a:gd name="connsiteX3" fmla="*/ 0 w 228600"/>
                      <a:gd name="connsiteY3" fmla="*/ 4533900 h 4533900"/>
                      <a:gd name="connsiteX4" fmla="*/ 0 w 228600"/>
                      <a:gd name="connsiteY4" fmla="*/ 0 h 4533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8600" h="4533900">
                        <a:moveTo>
                          <a:pt x="0" y="0"/>
                        </a:moveTo>
                        <a:lnTo>
                          <a:pt x="114300" y="0"/>
                        </a:lnTo>
                        <a:lnTo>
                          <a:pt x="228600" y="4533900"/>
                        </a:lnTo>
                        <a:lnTo>
                          <a:pt x="0" y="453390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37" name="Freeform: Shape 36">
                    <a:extLst>
                      <a:ext uri="{FF2B5EF4-FFF2-40B4-BE49-F238E27FC236}">
                        <a16:creationId xmlns:a16="http://schemas.microsoft.com/office/drawing/2014/main" id="{D714F384-720F-4CF5-8F1B-207EC0DB8C56}"/>
                      </a:ext>
                    </a:extLst>
                  </p:cNvPr>
                  <p:cNvSpPr/>
                  <p:nvPr/>
                </p:nvSpPr>
                <p:spPr>
                  <a:xfrm>
                    <a:off x="8069943" y="2324100"/>
                    <a:ext cx="228600" cy="4533900"/>
                  </a:xfrm>
                  <a:custGeom>
                    <a:avLst/>
                    <a:gdLst>
                      <a:gd name="connsiteX0" fmla="*/ 114300 w 228600"/>
                      <a:gd name="connsiteY0" fmla="*/ 0 h 4533900"/>
                      <a:gd name="connsiteX1" fmla="*/ 228600 w 228600"/>
                      <a:gd name="connsiteY1" fmla="*/ 0 h 4533900"/>
                      <a:gd name="connsiteX2" fmla="*/ 228600 w 228600"/>
                      <a:gd name="connsiteY2" fmla="*/ 4533900 h 4533900"/>
                      <a:gd name="connsiteX3" fmla="*/ 0 w 228600"/>
                      <a:gd name="connsiteY3" fmla="*/ 4533900 h 4533900"/>
                      <a:gd name="connsiteX4" fmla="*/ 114300 w 228600"/>
                      <a:gd name="connsiteY4" fmla="*/ 0 h 4533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8600" h="4533900">
                        <a:moveTo>
                          <a:pt x="114300" y="0"/>
                        </a:moveTo>
                        <a:lnTo>
                          <a:pt x="228600" y="0"/>
                        </a:lnTo>
                        <a:lnTo>
                          <a:pt x="228600" y="4533900"/>
                        </a:lnTo>
                        <a:lnTo>
                          <a:pt x="0" y="4533900"/>
                        </a:lnTo>
                        <a:lnTo>
                          <a:pt x="114300" y="0"/>
                        </a:lnTo>
                        <a:close/>
                      </a:path>
                    </a:pathLst>
                  </a:custGeom>
                  <a:solidFill>
                    <a:schemeClr val="accent2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32" name="Block Arc 31">
                  <a:extLst>
                    <a:ext uri="{FF2B5EF4-FFF2-40B4-BE49-F238E27FC236}">
                      <a16:creationId xmlns:a16="http://schemas.microsoft.com/office/drawing/2014/main" id="{C11CC8FC-3C5B-4E4A-8194-C97198D32205}"/>
                    </a:ext>
                  </a:extLst>
                </p:cNvPr>
                <p:cNvSpPr/>
                <p:nvPr/>
              </p:nvSpPr>
              <p:spPr>
                <a:xfrm rot="16200000">
                  <a:off x="7271658" y="2061029"/>
                  <a:ext cx="1770743" cy="1770743"/>
                </a:xfrm>
                <a:prstGeom prst="blockArc">
                  <a:avLst>
                    <a:gd name="adj1" fmla="val 10800000"/>
                    <a:gd name="adj2" fmla="val 16234411"/>
                    <a:gd name="adj3" fmla="val 9014"/>
                  </a:avLst>
                </a:pr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3" name="Block Arc 32">
                  <a:extLst>
                    <a:ext uri="{FF2B5EF4-FFF2-40B4-BE49-F238E27FC236}">
                      <a16:creationId xmlns:a16="http://schemas.microsoft.com/office/drawing/2014/main" id="{68725A47-2614-4EA4-A72F-C23D8588E96E}"/>
                    </a:ext>
                  </a:extLst>
                </p:cNvPr>
                <p:cNvSpPr/>
                <p:nvPr/>
              </p:nvSpPr>
              <p:spPr>
                <a:xfrm rot="16200000">
                  <a:off x="7300686" y="947964"/>
                  <a:ext cx="1770743" cy="1770743"/>
                </a:xfrm>
                <a:prstGeom prst="blockArc">
                  <a:avLst>
                    <a:gd name="adj1" fmla="val 10800000"/>
                    <a:gd name="adj2" fmla="val 16234411"/>
                    <a:gd name="adj3" fmla="val 9014"/>
                  </a:avLst>
                </a:pr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4" name="Block Arc 33">
                  <a:extLst>
                    <a:ext uri="{FF2B5EF4-FFF2-40B4-BE49-F238E27FC236}">
                      <a16:creationId xmlns:a16="http://schemas.microsoft.com/office/drawing/2014/main" id="{EA4078C7-2599-4C2F-86D9-A47E822D1620}"/>
                    </a:ext>
                  </a:extLst>
                </p:cNvPr>
                <p:cNvSpPr/>
                <p:nvPr/>
              </p:nvSpPr>
              <p:spPr>
                <a:xfrm rot="5400000" flipH="1">
                  <a:off x="7527471" y="2669268"/>
                  <a:ext cx="1770743" cy="1770743"/>
                </a:xfrm>
                <a:prstGeom prst="blockArc">
                  <a:avLst>
                    <a:gd name="adj1" fmla="val 10800000"/>
                    <a:gd name="adj2" fmla="val 16234411"/>
                    <a:gd name="adj3" fmla="val 9014"/>
                  </a:avLst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35" name="Block Arc 34">
                  <a:extLst>
                    <a:ext uri="{FF2B5EF4-FFF2-40B4-BE49-F238E27FC236}">
                      <a16:creationId xmlns:a16="http://schemas.microsoft.com/office/drawing/2014/main" id="{C3597B2D-AD57-48E4-BDB9-6A5AD6EED642}"/>
                    </a:ext>
                  </a:extLst>
                </p:cNvPr>
                <p:cNvSpPr/>
                <p:nvPr/>
              </p:nvSpPr>
              <p:spPr>
                <a:xfrm rot="5400000" flipH="1">
                  <a:off x="7527471" y="1544411"/>
                  <a:ext cx="1770743" cy="1770743"/>
                </a:xfrm>
                <a:prstGeom prst="blockArc">
                  <a:avLst>
                    <a:gd name="adj1" fmla="val 10800000"/>
                    <a:gd name="adj2" fmla="val 16234411"/>
                    <a:gd name="adj3" fmla="val 9014"/>
                  </a:avLst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23BB49ED-918B-4FCF-A1FD-199847A838FA}"/>
                  </a:ext>
                </a:extLst>
              </p:cNvPr>
              <p:cNvGrpSpPr/>
              <p:nvPr/>
            </p:nvGrpSpPr>
            <p:grpSpPr>
              <a:xfrm>
                <a:off x="2820309" y="1647146"/>
                <a:ext cx="1307872" cy="1307872"/>
                <a:chOff x="3193143" y="1833336"/>
                <a:chExt cx="2757714" cy="2757714"/>
              </a:xfrm>
            </p:grpSpPr>
            <p:sp>
              <p:nvSpPr>
                <p:cNvPr id="29" name="Freeform: Shape 28">
                  <a:extLst>
                    <a:ext uri="{FF2B5EF4-FFF2-40B4-BE49-F238E27FC236}">
                      <a16:creationId xmlns:a16="http://schemas.microsoft.com/office/drawing/2014/main" id="{8ED72597-4C06-426F-8D8E-208AA4D12B3A}"/>
                    </a:ext>
                  </a:extLst>
                </p:cNvPr>
                <p:cNvSpPr/>
                <p:nvPr/>
              </p:nvSpPr>
              <p:spPr>
                <a:xfrm>
                  <a:off x="4572000" y="1833336"/>
                  <a:ext cx="1378857" cy="2757714"/>
                </a:xfrm>
                <a:custGeom>
                  <a:avLst/>
                  <a:gdLst>
                    <a:gd name="connsiteX0" fmla="*/ 0 w 1378857"/>
                    <a:gd name="connsiteY0" fmla="*/ 0 h 2757714"/>
                    <a:gd name="connsiteX1" fmla="*/ 1378857 w 1378857"/>
                    <a:gd name="connsiteY1" fmla="*/ 1378857 h 2757714"/>
                    <a:gd name="connsiteX2" fmla="*/ 0 w 1378857"/>
                    <a:gd name="connsiteY2" fmla="*/ 2757714 h 2757714"/>
                    <a:gd name="connsiteX3" fmla="*/ 0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0" y="0"/>
                      </a:moveTo>
                      <a:cubicBezTo>
                        <a:pt x="761522" y="0"/>
                        <a:pt x="1378857" y="617335"/>
                        <a:pt x="1378857" y="1378857"/>
                      </a:cubicBezTo>
                      <a:cubicBezTo>
                        <a:pt x="1378857" y="2140379"/>
                        <a:pt x="761522" y="2757714"/>
                        <a:pt x="0" y="275771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0" name="Freeform: Shape 29">
                  <a:extLst>
                    <a:ext uri="{FF2B5EF4-FFF2-40B4-BE49-F238E27FC236}">
                      <a16:creationId xmlns:a16="http://schemas.microsoft.com/office/drawing/2014/main" id="{DF8C4DB7-AEAD-4D60-A1EC-563D1D1F5598}"/>
                    </a:ext>
                  </a:extLst>
                </p:cNvPr>
                <p:cNvSpPr/>
                <p:nvPr/>
              </p:nvSpPr>
              <p:spPr>
                <a:xfrm>
                  <a:off x="3193143" y="1833336"/>
                  <a:ext cx="1378857" cy="2757714"/>
                </a:xfrm>
                <a:custGeom>
                  <a:avLst/>
                  <a:gdLst>
                    <a:gd name="connsiteX0" fmla="*/ 1378857 w 1378857"/>
                    <a:gd name="connsiteY0" fmla="*/ 0 h 2757714"/>
                    <a:gd name="connsiteX1" fmla="*/ 1378857 w 1378857"/>
                    <a:gd name="connsiteY1" fmla="*/ 2757714 h 2757714"/>
                    <a:gd name="connsiteX2" fmla="*/ 0 w 1378857"/>
                    <a:gd name="connsiteY2" fmla="*/ 1378857 h 2757714"/>
                    <a:gd name="connsiteX3" fmla="*/ 1378857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1378857" y="0"/>
                      </a:moveTo>
                      <a:lnTo>
                        <a:pt x="1378857" y="2757714"/>
                      </a:lnTo>
                      <a:cubicBezTo>
                        <a:pt x="617335" y="2757714"/>
                        <a:pt x="0" y="2140379"/>
                        <a:pt x="0" y="1378857"/>
                      </a:cubicBezTo>
                      <a:cubicBezTo>
                        <a:pt x="0" y="617335"/>
                        <a:pt x="617335" y="0"/>
                        <a:pt x="1378857" y="0"/>
                      </a:cubicBez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643A41BD-03CD-4145-9C49-980A90E02583}"/>
                  </a:ext>
                </a:extLst>
              </p:cNvPr>
              <p:cNvGrpSpPr/>
              <p:nvPr/>
            </p:nvGrpSpPr>
            <p:grpSpPr>
              <a:xfrm>
                <a:off x="3242130" y="674802"/>
                <a:ext cx="1307872" cy="1307872"/>
                <a:chOff x="3193143" y="1833336"/>
                <a:chExt cx="2757714" cy="2757714"/>
              </a:xfrm>
            </p:grpSpPr>
            <p:sp>
              <p:nvSpPr>
                <p:cNvPr id="27" name="Freeform: Shape 26">
                  <a:extLst>
                    <a:ext uri="{FF2B5EF4-FFF2-40B4-BE49-F238E27FC236}">
                      <a16:creationId xmlns:a16="http://schemas.microsoft.com/office/drawing/2014/main" id="{3F08665B-AF43-4B73-B810-26272516C771}"/>
                    </a:ext>
                  </a:extLst>
                </p:cNvPr>
                <p:cNvSpPr/>
                <p:nvPr/>
              </p:nvSpPr>
              <p:spPr>
                <a:xfrm>
                  <a:off x="4572000" y="1833336"/>
                  <a:ext cx="1378857" cy="2757714"/>
                </a:xfrm>
                <a:custGeom>
                  <a:avLst/>
                  <a:gdLst>
                    <a:gd name="connsiteX0" fmla="*/ 0 w 1378857"/>
                    <a:gd name="connsiteY0" fmla="*/ 0 h 2757714"/>
                    <a:gd name="connsiteX1" fmla="*/ 1378857 w 1378857"/>
                    <a:gd name="connsiteY1" fmla="*/ 1378857 h 2757714"/>
                    <a:gd name="connsiteX2" fmla="*/ 0 w 1378857"/>
                    <a:gd name="connsiteY2" fmla="*/ 2757714 h 2757714"/>
                    <a:gd name="connsiteX3" fmla="*/ 0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0" y="0"/>
                      </a:moveTo>
                      <a:cubicBezTo>
                        <a:pt x="761522" y="0"/>
                        <a:pt x="1378857" y="617335"/>
                        <a:pt x="1378857" y="1378857"/>
                      </a:cubicBezTo>
                      <a:cubicBezTo>
                        <a:pt x="1378857" y="2140379"/>
                        <a:pt x="761522" y="2757714"/>
                        <a:pt x="0" y="275771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8" name="Freeform: Shape 27">
                  <a:extLst>
                    <a:ext uri="{FF2B5EF4-FFF2-40B4-BE49-F238E27FC236}">
                      <a16:creationId xmlns:a16="http://schemas.microsoft.com/office/drawing/2014/main" id="{40CF5582-F63C-4A7A-A675-BE34A860AE9D}"/>
                    </a:ext>
                  </a:extLst>
                </p:cNvPr>
                <p:cNvSpPr/>
                <p:nvPr/>
              </p:nvSpPr>
              <p:spPr>
                <a:xfrm>
                  <a:off x="3193143" y="1833336"/>
                  <a:ext cx="1378857" cy="2757714"/>
                </a:xfrm>
                <a:custGeom>
                  <a:avLst/>
                  <a:gdLst>
                    <a:gd name="connsiteX0" fmla="*/ 1378857 w 1378857"/>
                    <a:gd name="connsiteY0" fmla="*/ 0 h 2757714"/>
                    <a:gd name="connsiteX1" fmla="*/ 1378857 w 1378857"/>
                    <a:gd name="connsiteY1" fmla="*/ 2757714 h 2757714"/>
                    <a:gd name="connsiteX2" fmla="*/ 0 w 1378857"/>
                    <a:gd name="connsiteY2" fmla="*/ 1378857 h 2757714"/>
                    <a:gd name="connsiteX3" fmla="*/ 1378857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1378857" y="0"/>
                      </a:moveTo>
                      <a:lnTo>
                        <a:pt x="1378857" y="2757714"/>
                      </a:lnTo>
                      <a:cubicBezTo>
                        <a:pt x="617335" y="2757714"/>
                        <a:pt x="0" y="2140379"/>
                        <a:pt x="0" y="1378857"/>
                      </a:cubicBezTo>
                      <a:cubicBezTo>
                        <a:pt x="0" y="617335"/>
                        <a:pt x="617335" y="0"/>
                        <a:pt x="1378857" y="0"/>
                      </a:cubicBez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43F582E4-000A-4449-B280-800EA682D099}"/>
                  </a:ext>
                </a:extLst>
              </p:cNvPr>
              <p:cNvGrpSpPr/>
              <p:nvPr/>
            </p:nvGrpSpPr>
            <p:grpSpPr>
              <a:xfrm>
                <a:off x="4972506" y="2589893"/>
                <a:ext cx="933447" cy="933447"/>
                <a:chOff x="3193143" y="1833336"/>
                <a:chExt cx="2757714" cy="2757714"/>
              </a:xfrm>
            </p:grpSpPr>
            <p:sp>
              <p:nvSpPr>
                <p:cNvPr id="25" name="Freeform: Shape 24">
                  <a:extLst>
                    <a:ext uri="{FF2B5EF4-FFF2-40B4-BE49-F238E27FC236}">
                      <a16:creationId xmlns:a16="http://schemas.microsoft.com/office/drawing/2014/main" id="{469D9781-8A46-4616-ABFE-BBA6DC253B0D}"/>
                    </a:ext>
                  </a:extLst>
                </p:cNvPr>
                <p:cNvSpPr/>
                <p:nvPr/>
              </p:nvSpPr>
              <p:spPr>
                <a:xfrm>
                  <a:off x="4572000" y="1833336"/>
                  <a:ext cx="1378857" cy="2757714"/>
                </a:xfrm>
                <a:custGeom>
                  <a:avLst/>
                  <a:gdLst>
                    <a:gd name="connsiteX0" fmla="*/ 0 w 1378857"/>
                    <a:gd name="connsiteY0" fmla="*/ 0 h 2757714"/>
                    <a:gd name="connsiteX1" fmla="*/ 1378857 w 1378857"/>
                    <a:gd name="connsiteY1" fmla="*/ 1378857 h 2757714"/>
                    <a:gd name="connsiteX2" fmla="*/ 0 w 1378857"/>
                    <a:gd name="connsiteY2" fmla="*/ 2757714 h 2757714"/>
                    <a:gd name="connsiteX3" fmla="*/ 0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0" y="0"/>
                      </a:moveTo>
                      <a:cubicBezTo>
                        <a:pt x="761522" y="0"/>
                        <a:pt x="1378857" y="617335"/>
                        <a:pt x="1378857" y="1378857"/>
                      </a:cubicBezTo>
                      <a:cubicBezTo>
                        <a:pt x="1378857" y="2140379"/>
                        <a:pt x="761522" y="2757714"/>
                        <a:pt x="0" y="275771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6" name="Freeform: Shape 25">
                  <a:extLst>
                    <a:ext uri="{FF2B5EF4-FFF2-40B4-BE49-F238E27FC236}">
                      <a16:creationId xmlns:a16="http://schemas.microsoft.com/office/drawing/2014/main" id="{3C8476FD-41F4-4FEE-A9DA-3611794F6EE9}"/>
                    </a:ext>
                  </a:extLst>
                </p:cNvPr>
                <p:cNvSpPr/>
                <p:nvPr/>
              </p:nvSpPr>
              <p:spPr>
                <a:xfrm>
                  <a:off x="3193143" y="1833336"/>
                  <a:ext cx="1378857" cy="2757714"/>
                </a:xfrm>
                <a:custGeom>
                  <a:avLst/>
                  <a:gdLst>
                    <a:gd name="connsiteX0" fmla="*/ 1378857 w 1378857"/>
                    <a:gd name="connsiteY0" fmla="*/ 0 h 2757714"/>
                    <a:gd name="connsiteX1" fmla="*/ 1378857 w 1378857"/>
                    <a:gd name="connsiteY1" fmla="*/ 2757714 h 2757714"/>
                    <a:gd name="connsiteX2" fmla="*/ 0 w 1378857"/>
                    <a:gd name="connsiteY2" fmla="*/ 1378857 h 2757714"/>
                    <a:gd name="connsiteX3" fmla="*/ 1378857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1378857" y="0"/>
                      </a:moveTo>
                      <a:lnTo>
                        <a:pt x="1378857" y="2757714"/>
                      </a:lnTo>
                      <a:cubicBezTo>
                        <a:pt x="617335" y="2757714"/>
                        <a:pt x="0" y="2140379"/>
                        <a:pt x="0" y="1378857"/>
                      </a:cubicBezTo>
                      <a:cubicBezTo>
                        <a:pt x="0" y="617335"/>
                        <a:pt x="617335" y="0"/>
                        <a:pt x="1378857" y="0"/>
                      </a:cubicBez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617B2E0E-C86E-4106-AEB0-831D6C065500}"/>
                  </a:ext>
                </a:extLst>
              </p:cNvPr>
              <p:cNvGrpSpPr/>
              <p:nvPr/>
            </p:nvGrpSpPr>
            <p:grpSpPr>
              <a:xfrm>
                <a:off x="4194006" y="378736"/>
                <a:ext cx="2280867" cy="2280867"/>
                <a:chOff x="3193144" y="1833336"/>
                <a:chExt cx="2757714" cy="2757714"/>
              </a:xfrm>
            </p:grpSpPr>
            <p:sp>
              <p:nvSpPr>
                <p:cNvPr id="23" name="Freeform: Shape 22">
                  <a:extLst>
                    <a:ext uri="{FF2B5EF4-FFF2-40B4-BE49-F238E27FC236}">
                      <a16:creationId xmlns:a16="http://schemas.microsoft.com/office/drawing/2014/main" id="{C2E69BC4-F04A-4EF2-8225-BDC89633BE3F}"/>
                    </a:ext>
                  </a:extLst>
                </p:cNvPr>
                <p:cNvSpPr/>
                <p:nvPr/>
              </p:nvSpPr>
              <p:spPr>
                <a:xfrm>
                  <a:off x="4572001" y="1833336"/>
                  <a:ext cx="1378857" cy="2757714"/>
                </a:xfrm>
                <a:custGeom>
                  <a:avLst/>
                  <a:gdLst>
                    <a:gd name="connsiteX0" fmla="*/ 0 w 1378857"/>
                    <a:gd name="connsiteY0" fmla="*/ 0 h 2757714"/>
                    <a:gd name="connsiteX1" fmla="*/ 1378857 w 1378857"/>
                    <a:gd name="connsiteY1" fmla="*/ 1378857 h 2757714"/>
                    <a:gd name="connsiteX2" fmla="*/ 0 w 1378857"/>
                    <a:gd name="connsiteY2" fmla="*/ 2757714 h 2757714"/>
                    <a:gd name="connsiteX3" fmla="*/ 0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0" y="0"/>
                      </a:moveTo>
                      <a:cubicBezTo>
                        <a:pt x="761522" y="0"/>
                        <a:pt x="1378857" y="617335"/>
                        <a:pt x="1378857" y="1378857"/>
                      </a:cubicBezTo>
                      <a:cubicBezTo>
                        <a:pt x="1378857" y="2140379"/>
                        <a:pt x="761522" y="2757714"/>
                        <a:pt x="0" y="275771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4" name="Freeform: Shape 23">
                  <a:extLst>
                    <a:ext uri="{FF2B5EF4-FFF2-40B4-BE49-F238E27FC236}">
                      <a16:creationId xmlns:a16="http://schemas.microsoft.com/office/drawing/2014/main" id="{2C3664A3-B169-4821-8BF9-254DDA14AB62}"/>
                    </a:ext>
                  </a:extLst>
                </p:cNvPr>
                <p:cNvSpPr/>
                <p:nvPr/>
              </p:nvSpPr>
              <p:spPr>
                <a:xfrm>
                  <a:off x="3193144" y="1833336"/>
                  <a:ext cx="1378857" cy="2757714"/>
                </a:xfrm>
                <a:custGeom>
                  <a:avLst/>
                  <a:gdLst>
                    <a:gd name="connsiteX0" fmla="*/ 1378857 w 1378857"/>
                    <a:gd name="connsiteY0" fmla="*/ 0 h 2757714"/>
                    <a:gd name="connsiteX1" fmla="*/ 1378857 w 1378857"/>
                    <a:gd name="connsiteY1" fmla="*/ 2757714 h 2757714"/>
                    <a:gd name="connsiteX2" fmla="*/ 0 w 1378857"/>
                    <a:gd name="connsiteY2" fmla="*/ 1378857 h 2757714"/>
                    <a:gd name="connsiteX3" fmla="*/ 1378857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1378857" y="0"/>
                      </a:moveTo>
                      <a:lnTo>
                        <a:pt x="1378857" y="2757714"/>
                      </a:lnTo>
                      <a:cubicBezTo>
                        <a:pt x="617335" y="2757714"/>
                        <a:pt x="0" y="2140379"/>
                        <a:pt x="0" y="1378857"/>
                      </a:cubicBezTo>
                      <a:cubicBezTo>
                        <a:pt x="0" y="617335"/>
                        <a:pt x="617335" y="0"/>
                        <a:pt x="1378857" y="0"/>
                      </a:cubicBez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F1E7D445-3694-4E4A-B1BF-93D47465ECA1}"/>
              </a:ext>
            </a:extLst>
          </p:cNvPr>
          <p:cNvGrpSpPr/>
          <p:nvPr/>
        </p:nvGrpSpPr>
        <p:grpSpPr>
          <a:xfrm flipH="1">
            <a:off x="2337848" y="5733835"/>
            <a:ext cx="258747" cy="437251"/>
            <a:chOff x="2820309" y="378736"/>
            <a:chExt cx="3654564" cy="6175768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EF62679F-3988-45C0-B4CF-58C7AE183CF2}"/>
                </a:ext>
              </a:extLst>
            </p:cNvPr>
            <p:cNvSpPr/>
            <p:nvPr/>
          </p:nvSpPr>
          <p:spPr>
            <a:xfrm>
              <a:off x="3245645" y="2718154"/>
              <a:ext cx="860537" cy="860537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DE268F36-C691-4CFB-8EAC-A3225EE8AADE}"/>
                </a:ext>
              </a:extLst>
            </p:cNvPr>
            <p:cNvSpPr/>
            <p:nvPr/>
          </p:nvSpPr>
          <p:spPr>
            <a:xfrm>
              <a:off x="5340159" y="1982674"/>
              <a:ext cx="958455" cy="958455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FA5371D7-4247-4E0B-B65E-B485E1781C09}"/>
                </a:ext>
              </a:extLst>
            </p:cNvPr>
            <p:cNvGrpSpPr/>
            <p:nvPr/>
          </p:nvGrpSpPr>
          <p:grpSpPr>
            <a:xfrm>
              <a:off x="2820309" y="378736"/>
              <a:ext cx="3654564" cy="6175768"/>
              <a:chOff x="2820309" y="378736"/>
              <a:chExt cx="3654564" cy="6175768"/>
            </a:xfrm>
          </p:grpSpPr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9AF0F91E-EFDE-4BE8-B096-E34C1436ADDA}"/>
                  </a:ext>
                </a:extLst>
              </p:cNvPr>
              <p:cNvSpPr/>
              <p:nvPr/>
            </p:nvSpPr>
            <p:spPr>
              <a:xfrm>
                <a:off x="3007972" y="6213531"/>
                <a:ext cx="2917599" cy="340973"/>
              </a:xfrm>
              <a:prstGeom prst="ellipse">
                <a:avLst/>
              </a:prstGeom>
              <a:solidFill>
                <a:schemeClr val="tx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954DCD5D-1F96-4F97-BB2F-60306E988F7D}"/>
                  </a:ext>
                </a:extLst>
              </p:cNvPr>
              <p:cNvGrpSpPr/>
              <p:nvPr/>
            </p:nvGrpSpPr>
            <p:grpSpPr>
              <a:xfrm>
                <a:off x="2820309" y="378736"/>
                <a:ext cx="3654564" cy="6005282"/>
                <a:chOff x="2820309" y="378736"/>
                <a:chExt cx="3654564" cy="6005282"/>
              </a:xfrm>
            </p:grpSpPr>
            <p:sp>
              <p:nvSpPr>
                <p:cNvPr id="44" name="Oval 43">
                  <a:extLst>
                    <a:ext uri="{FF2B5EF4-FFF2-40B4-BE49-F238E27FC236}">
                      <a16:creationId xmlns:a16="http://schemas.microsoft.com/office/drawing/2014/main" id="{6864202E-4A6B-47C1-A474-82146AC455DD}"/>
                    </a:ext>
                  </a:extLst>
                </p:cNvPr>
                <p:cNvSpPr/>
                <p:nvPr/>
              </p:nvSpPr>
              <p:spPr>
                <a:xfrm>
                  <a:off x="3147673" y="871875"/>
                  <a:ext cx="2892653" cy="2892653"/>
                </a:xfrm>
                <a:prstGeom prst="ellipse">
                  <a:avLst/>
                </a:prstGeom>
                <a:solidFill>
                  <a:schemeClr val="accent6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5" name="Oval 44">
                  <a:extLst>
                    <a:ext uri="{FF2B5EF4-FFF2-40B4-BE49-F238E27FC236}">
                      <a16:creationId xmlns:a16="http://schemas.microsoft.com/office/drawing/2014/main" id="{2B0AE24B-B567-43AE-B1E9-8316820D6ECD}"/>
                    </a:ext>
                  </a:extLst>
                </p:cNvPr>
                <p:cNvSpPr/>
                <p:nvPr/>
              </p:nvSpPr>
              <p:spPr>
                <a:xfrm>
                  <a:off x="3922657" y="2642142"/>
                  <a:ext cx="745216" cy="745216"/>
                </a:xfrm>
                <a:prstGeom prst="ellipse">
                  <a:avLst/>
                </a:pr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46" name="Group 45">
                  <a:extLst>
                    <a:ext uri="{FF2B5EF4-FFF2-40B4-BE49-F238E27FC236}">
                      <a16:creationId xmlns:a16="http://schemas.microsoft.com/office/drawing/2014/main" id="{F872D544-733D-4B7B-B691-4365E61076E9}"/>
                    </a:ext>
                  </a:extLst>
                </p:cNvPr>
                <p:cNvGrpSpPr/>
                <p:nvPr/>
              </p:nvGrpSpPr>
              <p:grpSpPr>
                <a:xfrm>
                  <a:off x="3439887" y="473982"/>
                  <a:ext cx="2026556" cy="5910036"/>
                  <a:chOff x="7271658" y="947964"/>
                  <a:chExt cx="2026556" cy="5910036"/>
                </a:xfrm>
              </p:grpSpPr>
              <p:grpSp>
                <p:nvGrpSpPr>
                  <p:cNvPr id="59" name="Group 58">
                    <a:extLst>
                      <a:ext uri="{FF2B5EF4-FFF2-40B4-BE49-F238E27FC236}">
                        <a16:creationId xmlns:a16="http://schemas.microsoft.com/office/drawing/2014/main" id="{D484ACD9-B257-485C-97EA-4243C5272693}"/>
                      </a:ext>
                    </a:extLst>
                  </p:cNvPr>
                  <p:cNvGrpSpPr/>
                  <p:nvPr/>
                </p:nvGrpSpPr>
                <p:grpSpPr>
                  <a:xfrm>
                    <a:off x="8069943" y="2324100"/>
                    <a:ext cx="457200" cy="4533900"/>
                    <a:chOff x="8069943" y="2324100"/>
                    <a:chExt cx="457200" cy="4533900"/>
                  </a:xfrm>
                </p:grpSpPr>
                <p:sp>
                  <p:nvSpPr>
                    <p:cNvPr id="64" name="Freeform: Shape 63">
                      <a:extLst>
                        <a:ext uri="{FF2B5EF4-FFF2-40B4-BE49-F238E27FC236}">
                          <a16:creationId xmlns:a16="http://schemas.microsoft.com/office/drawing/2014/main" id="{FD020492-D2EC-434D-83C3-BE3D529B143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298543" y="2324100"/>
                      <a:ext cx="228600" cy="4533900"/>
                    </a:xfrm>
                    <a:custGeom>
                      <a:avLst/>
                      <a:gdLst>
                        <a:gd name="connsiteX0" fmla="*/ 0 w 228600"/>
                        <a:gd name="connsiteY0" fmla="*/ 0 h 4533900"/>
                        <a:gd name="connsiteX1" fmla="*/ 114300 w 228600"/>
                        <a:gd name="connsiteY1" fmla="*/ 0 h 4533900"/>
                        <a:gd name="connsiteX2" fmla="*/ 228600 w 228600"/>
                        <a:gd name="connsiteY2" fmla="*/ 4533900 h 4533900"/>
                        <a:gd name="connsiteX3" fmla="*/ 0 w 228600"/>
                        <a:gd name="connsiteY3" fmla="*/ 4533900 h 4533900"/>
                        <a:gd name="connsiteX4" fmla="*/ 0 w 228600"/>
                        <a:gd name="connsiteY4" fmla="*/ 0 h 45339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28600" h="4533900">
                          <a:moveTo>
                            <a:pt x="0" y="0"/>
                          </a:moveTo>
                          <a:lnTo>
                            <a:pt x="114300" y="0"/>
                          </a:lnTo>
                          <a:lnTo>
                            <a:pt x="228600" y="4533900"/>
                          </a:lnTo>
                          <a:lnTo>
                            <a:pt x="0" y="453390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accent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/>
                    </a:p>
                  </p:txBody>
                </p:sp>
                <p:sp>
                  <p:nvSpPr>
                    <p:cNvPr id="65" name="Freeform: Shape 64">
                      <a:extLst>
                        <a:ext uri="{FF2B5EF4-FFF2-40B4-BE49-F238E27FC236}">
                          <a16:creationId xmlns:a16="http://schemas.microsoft.com/office/drawing/2014/main" id="{29E68F64-A9E4-4BB0-8940-815840A9CB4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069943" y="2324100"/>
                      <a:ext cx="228600" cy="4533900"/>
                    </a:xfrm>
                    <a:custGeom>
                      <a:avLst/>
                      <a:gdLst>
                        <a:gd name="connsiteX0" fmla="*/ 114300 w 228600"/>
                        <a:gd name="connsiteY0" fmla="*/ 0 h 4533900"/>
                        <a:gd name="connsiteX1" fmla="*/ 228600 w 228600"/>
                        <a:gd name="connsiteY1" fmla="*/ 0 h 4533900"/>
                        <a:gd name="connsiteX2" fmla="*/ 228600 w 228600"/>
                        <a:gd name="connsiteY2" fmla="*/ 4533900 h 4533900"/>
                        <a:gd name="connsiteX3" fmla="*/ 0 w 228600"/>
                        <a:gd name="connsiteY3" fmla="*/ 4533900 h 4533900"/>
                        <a:gd name="connsiteX4" fmla="*/ 114300 w 228600"/>
                        <a:gd name="connsiteY4" fmla="*/ 0 h 45339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28600" h="4533900">
                          <a:moveTo>
                            <a:pt x="114300" y="0"/>
                          </a:moveTo>
                          <a:lnTo>
                            <a:pt x="228600" y="0"/>
                          </a:lnTo>
                          <a:lnTo>
                            <a:pt x="228600" y="4533900"/>
                          </a:lnTo>
                          <a:lnTo>
                            <a:pt x="0" y="4533900"/>
                          </a:lnTo>
                          <a:lnTo>
                            <a:pt x="114300" y="0"/>
                          </a:lnTo>
                          <a:close/>
                        </a:path>
                      </a:pathLst>
                    </a:custGeom>
                    <a:solidFill>
                      <a:schemeClr val="accent2">
                        <a:lumMod val="75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/>
                    </a:p>
                  </p:txBody>
                </p:sp>
              </p:grpSp>
              <p:sp>
                <p:nvSpPr>
                  <p:cNvPr id="60" name="Block Arc 59">
                    <a:extLst>
                      <a:ext uri="{FF2B5EF4-FFF2-40B4-BE49-F238E27FC236}">
                        <a16:creationId xmlns:a16="http://schemas.microsoft.com/office/drawing/2014/main" id="{1D276E04-1AEF-46BF-B96E-A4126E34AB1D}"/>
                      </a:ext>
                    </a:extLst>
                  </p:cNvPr>
                  <p:cNvSpPr/>
                  <p:nvPr/>
                </p:nvSpPr>
                <p:spPr>
                  <a:xfrm rot="16200000">
                    <a:off x="7271658" y="2061029"/>
                    <a:ext cx="1770743" cy="1770743"/>
                  </a:xfrm>
                  <a:prstGeom prst="blockArc">
                    <a:avLst>
                      <a:gd name="adj1" fmla="val 10800000"/>
                      <a:gd name="adj2" fmla="val 16234411"/>
                      <a:gd name="adj3" fmla="val 9014"/>
                    </a:avLst>
                  </a:prstGeom>
                  <a:solidFill>
                    <a:schemeClr val="accent2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1" name="Block Arc 60">
                    <a:extLst>
                      <a:ext uri="{FF2B5EF4-FFF2-40B4-BE49-F238E27FC236}">
                        <a16:creationId xmlns:a16="http://schemas.microsoft.com/office/drawing/2014/main" id="{A392169D-8C88-4707-852E-0569B5CB1B2A}"/>
                      </a:ext>
                    </a:extLst>
                  </p:cNvPr>
                  <p:cNvSpPr/>
                  <p:nvPr/>
                </p:nvSpPr>
                <p:spPr>
                  <a:xfrm rot="16200000">
                    <a:off x="7300686" y="947964"/>
                    <a:ext cx="1770743" cy="1770743"/>
                  </a:xfrm>
                  <a:prstGeom prst="blockArc">
                    <a:avLst>
                      <a:gd name="adj1" fmla="val 10800000"/>
                      <a:gd name="adj2" fmla="val 16234411"/>
                      <a:gd name="adj3" fmla="val 9014"/>
                    </a:avLst>
                  </a:prstGeom>
                  <a:solidFill>
                    <a:schemeClr val="accent2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2" name="Block Arc 61">
                    <a:extLst>
                      <a:ext uri="{FF2B5EF4-FFF2-40B4-BE49-F238E27FC236}">
                        <a16:creationId xmlns:a16="http://schemas.microsoft.com/office/drawing/2014/main" id="{CE72A9EB-9730-4FEC-A796-3DA8E7D66647}"/>
                      </a:ext>
                    </a:extLst>
                  </p:cNvPr>
                  <p:cNvSpPr/>
                  <p:nvPr/>
                </p:nvSpPr>
                <p:spPr>
                  <a:xfrm rot="5400000" flipH="1">
                    <a:off x="7527471" y="2669268"/>
                    <a:ext cx="1770743" cy="1770743"/>
                  </a:xfrm>
                  <a:prstGeom prst="blockArc">
                    <a:avLst>
                      <a:gd name="adj1" fmla="val 10800000"/>
                      <a:gd name="adj2" fmla="val 16234411"/>
                      <a:gd name="adj3" fmla="val 9014"/>
                    </a:avLst>
                  </a:prstGeom>
                  <a:solidFill>
                    <a:schemeClr val="accent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63" name="Block Arc 62">
                    <a:extLst>
                      <a:ext uri="{FF2B5EF4-FFF2-40B4-BE49-F238E27FC236}">
                        <a16:creationId xmlns:a16="http://schemas.microsoft.com/office/drawing/2014/main" id="{9207A2D8-8F84-4661-A319-BF632767FE4A}"/>
                      </a:ext>
                    </a:extLst>
                  </p:cNvPr>
                  <p:cNvSpPr/>
                  <p:nvPr/>
                </p:nvSpPr>
                <p:spPr>
                  <a:xfrm rot="5400000" flipH="1">
                    <a:off x="7527471" y="1544411"/>
                    <a:ext cx="1770743" cy="1770743"/>
                  </a:xfrm>
                  <a:prstGeom prst="blockArc">
                    <a:avLst>
                      <a:gd name="adj1" fmla="val 10800000"/>
                      <a:gd name="adj2" fmla="val 16234411"/>
                      <a:gd name="adj3" fmla="val 9014"/>
                    </a:avLst>
                  </a:prstGeom>
                  <a:solidFill>
                    <a:schemeClr val="accent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47" name="Group 46">
                  <a:extLst>
                    <a:ext uri="{FF2B5EF4-FFF2-40B4-BE49-F238E27FC236}">
                      <a16:creationId xmlns:a16="http://schemas.microsoft.com/office/drawing/2014/main" id="{8F103E28-BD3B-44B1-8A53-A42E70DF029A}"/>
                    </a:ext>
                  </a:extLst>
                </p:cNvPr>
                <p:cNvGrpSpPr/>
                <p:nvPr/>
              </p:nvGrpSpPr>
              <p:grpSpPr>
                <a:xfrm>
                  <a:off x="2820309" y="1647146"/>
                  <a:ext cx="1307872" cy="1307872"/>
                  <a:chOff x="3193143" y="1833336"/>
                  <a:chExt cx="2757714" cy="2757714"/>
                </a:xfrm>
              </p:grpSpPr>
              <p:sp>
                <p:nvSpPr>
                  <p:cNvPr id="57" name="Freeform: Shape 56">
                    <a:extLst>
                      <a:ext uri="{FF2B5EF4-FFF2-40B4-BE49-F238E27FC236}">
                        <a16:creationId xmlns:a16="http://schemas.microsoft.com/office/drawing/2014/main" id="{A835B098-AF7C-43C6-A907-928143EB78B7}"/>
                      </a:ext>
                    </a:extLst>
                  </p:cNvPr>
                  <p:cNvSpPr/>
                  <p:nvPr/>
                </p:nvSpPr>
                <p:spPr>
                  <a:xfrm>
                    <a:off x="4572000" y="1833336"/>
                    <a:ext cx="1378857" cy="2757714"/>
                  </a:xfrm>
                  <a:custGeom>
                    <a:avLst/>
                    <a:gdLst>
                      <a:gd name="connsiteX0" fmla="*/ 0 w 1378857"/>
                      <a:gd name="connsiteY0" fmla="*/ 0 h 2757714"/>
                      <a:gd name="connsiteX1" fmla="*/ 1378857 w 1378857"/>
                      <a:gd name="connsiteY1" fmla="*/ 1378857 h 2757714"/>
                      <a:gd name="connsiteX2" fmla="*/ 0 w 1378857"/>
                      <a:gd name="connsiteY2" fmla="*/ 2757714 h 2757714"/>
                      <a:gd name="connsiteX3" fmla="*/ 0 w 1378857"/>
                      <a:gd name="connsiteY3" fmla="*/ 0 h 275771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78857" h="2757714">
                        <a:moveTo>
                          <a:pt x="0" y="0"/>
                        </a:moveTo>
                        <a:cubicBezTo>
                          <a:pt x="761522" y="0"/>
                          <a:pt x="1378857" y="617335"/>
                          <a:pt x="1378857" y="1378857"/>
                        </a:cubicBezTo>
                        <a:cubicBezTo>
                          <a:pt x="1378857" y="2140379"/>
                          <a:pt x="761522" y="2757714"/>
                          <a:pt x="0" y="2757714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accent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8" name="Freeform: Shape 57">
                    <a:extLst>
                      <a:ext uri="{FF2B5EF4-FFF2-40B4-BE49-F238E27FC236}">
                        <a16:creationId xmlns:a16="http://schemas.microsoft.com/office/drawing/2014/main" id="{CCBA061D-A827-4D02-96FE-3585B72DF4CE}"/>
                      </a:ext>
                    </a:extLst>
                  </p:cNvPr>
                  <p:cNvSpPr/>
                  <p:nvPr/>
                </p:nvSpPr>
                <p:spPr>
                  <a:xfrm>
                    <a:off x="3193143" y="1833336"/>
                    <a:ext cx="1378857" cy="2757714"/>
                  </a:xfrm>
                  <a:custGeom>
                    <a:avLst/>
                    <a:gdLst>
                      <a:gd name="connsiteX0" fmla="*/ 1378857 w 1378857"/>
                      <a:gd name="connsiteY0" fmla="*/ 0 h 2757714"/>
                      <a:gd name="connsiteX1" fmla="*/ 1378857 w 1378857"/>
                      <a:gd name="connsiteY1" fmla="*/ 2757714 h 2757714"/>
                      <a:gd name="connsiteX2" fmla="*/ 0 w 1378857"/>
                      <a:gd name="connsiteY2" fmla="*/ 1378857 h 2757714"/>
                      <a:gd name="connsiteX3" fmla="*/ 1378857 w 1378857"/>
                      <a:gd name="connsiteY3" fmla="*/ 0 h 275771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78857" h="2757714">
                        <a:moveTo>
                          <a:pt x="1378857" y="0"/>
                        </a:moveTo>
                        <a:lnTo>
                          <a:pt x="1378857" y="2757714"/>
                        </a:lnTo>
                        <a:cubicBezTo>
                          <a:pt x="617335" y="2757714"/>
                          <a:pt x="0" y="2140379"/>
                          <a:pt x="0" y="1378857"/>
                        </a:cubicBezTo>
                        <a:cubicBezTo>
                          <a:pt x="0" y="617335"/>
                          <a:pt x="617335" y="0"/>
                          <a:pt x="1378857" y="0"/>
                        </a:cubicBezTo>
                        <a:close/>
                      </a:path>
                    </a:pathLst>
                  </a:custGeom>
                  <a:solidFill>
                    <a:schemeClr val="accent6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grpSp>
              <p:nvGrpSpPr>
                <p:cNvPr id="48" name="Group 47">
                  <a:extLst>
                    <a:ext uri="{FF2B5EF4-FFF2-40B4-BE49-F238E27FC236}">
                      <a16:creationId xmlns:a16="http://schemas.microsoft.com/office/drawing/2014/main" id="{F1CA5771-A925-4611-B8E4-874829C1CF33}"/>
                    </a:ext>
                  </a:extLst>
                </p:cNvPr>
                <p:cNvGrpSpPr/>
                <p:nvPr/>
              </p:nvGrpSpPr>
              <p:grpSpPr>
                <a:xfrm>
                  <a:off x="3242130" y="674802"/>
                  <a:ext cx="1307872" cy="1307872"/>
                  <a:chOff x="3193143" y="1833336"/>
                  <a:chExt cx="2757714" cy="2757714"/>
                </a:xfrm>
              </p:grpSpPr>
              <p:sp>
                <p:nvSpPr>
                  <p:cNvPr id="55" name="Freeform: Shape 54">
                    <a:extLst>
                      <a:ext uri="{FF2B5EF4-FFF2-40B4-BE49-F238E27FC236}">
                        <a16:creationId xmlns:a16="http://schemas.microsoft.com/office/drawing/2014/main" id="{897D6E93-99B5-457A-849D-CF8C94930EF7}"/>
                      </a:ext>
                    </a:extLst>
                  </p:cNvPr>
                  <p:cNvSpPr/>
                  <p:nvPr/>
                </p:nvSpPr>
                <p:spPr>
                  <a:xfrm>
                    <a:off x="4572000" y="1833336"/>
                    <a:ext cx="1378857" cy="2757714"/>
                  </a:xfrm>
                  <a:custGeom>
                    <a:avLst/>
                    <a:gdLst>
                      <a:gd name="connsiteX0" fmla="*/ 0 w 1378857"/>
                      <a:gd name="connsiteY0" fmla="*/ 0 h 2757714"/>
                      <a:gd name="connsiteX1" fmla="*/ 1378857 w 1378857"/>
                      <a:gd name="connsiteY1" fmla="*/ 1378857 h 2757714"/>
                      <a:gd name="connsiteX2" fmla="*/ 0 w 1378857"/>
                      <a:gd name="connsiteY2" fmla="*/ 2757714 h 2757714"/>
                      <a:gd name="connsiteX3" fmla="*/ 0 w 1378857"/>
                      <a:gd name="connsiteY3" fmla="*/ 0 h 275771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78857" h="2757714">
                        <a:moveTo>
                          <a:pt x="0" y="0"/>
                        </a:moveTo>
                        <a:cubicBezTo>
                          <a:pt x="761522" y="0"/>
                          <a:pt x="1378857" y="617335"/>
                          <a:pt x="1378857" y="1378857"/>
                        </a:cubicBezTo>
                        <a:cubicBezTo>
                          <a:pt x="1378857" y="2140379"/>
                          <a:pt x="761522" y="2757714"/>
                          <a:pt x="0" y="2757714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accent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6" name="Freeform: Shape 55">
                    <a:extLst>
                      <a:ext uri="{FF2B5EF4-FFF2-40B4-BE49-F238E27FC236}">
                        <a16:creationId xmlns:a16="http://schemas.microsoft.com/office/drawing/2014/main" id="{BB6F7B95-9A34-4B75-ACBA-33C9C928A559}"/>
                      </a:ext>
                    </a:extLst>
                  </p:cNvPr>
                  <p:cNvSpPr/>
                  <p:nvPr/>
                </p:nvSpPr>
                <p:spPr>
                  <a:xfrm>
                    <a:off x="3193143" y="1833336"/>
                    <a:ext cx="1378857" cy="2757714"/>
                  </a:xfrm>
                  <a:custGeom>
                    <a:avLst/>
                    <a:gdLst>
                      <a:gd name="connsiteX0" fmla="*/ 1378857 w 1378857"/>
                      <a:gd name="connsiteY0" fmla="*/ 0 h 2757714"/>
                      <a:gd name="connsiteX1" fmla="*/ 1378857 w 1378857"/>
                      <a:gd name="connsiteY1" fmla="*/ 2757714 h 2757714"/>
                      <a:gd name="connsiteX2" fmla="*/ 0 w 1378857"/>
                      <a:gd name="connsiteY2" fmla="*/ 1378857 h 2757714"/>
                      <a:gd name="connsiteX3" fmla="*/ 1378857 w 1378857"/>
                      <a:gd name="connsiteY3" fmla="*/ 0 h 275771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78857" h="2757714">
                        <a:moveTo>
                          <a:pt x="1378857" y="0"/>
                        </a:moveTo>
                        <a:lnTo>
                          <a:pt x="1378857" y="2757714"/>
                        </a:lnTo>
                        <a:cubicBezTo>
                          <a:pt x="617335" y="2757714"/>
                          <a:pt x="0" y="2140379"/>
                          <a:pt x="0" y="1378857"/>
                        </a:cubicBezTo>
                        <a:cubicBezTo>
                          <a:pt x="0" y="617335"/>
                          <a:pt x="617335" y="0"/>
                          <a:pt x="1378857" y="0"/>
                        </a:cubicBezTo>
                        <a:close/>
                      </a:path>
                    </a:pathLst>
                  </a:custGeom>
                  <a:solidFill>
                    <a:schemeClr val="accent6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grpSp>
              <p:nvGrpSpPr>
                <p:cNvPr id="49" name="Group 48">
                  <a:extLst>
                    <a:ext uri="{FF2B5EF4-FFF2-40B4-BE49-F238E27FC236}">
                      <a16:creationId xmlns:a16="http://schemas.microsoft.com/office/drawing/2014/main" id="{1995D388-E48B-45BF-9748-A3F459E08900}"/>
                    </a:ext>
                  </a:extLst>
                </p:cNvPr>
                <p:cNvGrpSpPr/>
                <p:nvPr/>
              </p:nvGrpSpPr>
              <p:grpSpPr>
                <a:xfrm>
                  <a:off x="4972506" y="2589893"/>
                  <a:ext cx="933447" cy="933447"/>
                  <a:chOff x="3193143" y="1833336"/>
                  <a:chExt cx="2757714" cy="2757714"/>
                </a:xfrm>
              </p:grpSpPr>
              <p:sp>
                <p:nvSpPr>
                  <p:cNvPr id="53" name="Freeform: Shape 52">
                    <a:extLst>
                      <a:ext uri="{FF2B5EF4-FFF2-40B4-BE49-F238E27FC236}">
                        <a16:creationId xmlns:a16="http://schemas.microsoft.com/office/drawing/2014/main" id="{ECA4E847-8F75-4A05-981D-DF1D724F3062}"/>
                      </a:ext>
                    </a:extLst>
                  </p:cNvPr>
                  <p:cNvSpPr/>
                  <p:nvPr/>
                </p:nvSpPr>
                <p:spPr>
                  <a:xfrm>
                    <a:off x="4572000" y="1833336"/>
                    <a:ext cx="1378857" cy="2757714"/>
                  </a:xfrm>
                  <a:custGeom>
                    <a:avLst/>
                    <a:gdLst>
                      <a:gd name="connsiteX0" fmla="*/ 0 w 1378857"/>
                      <a:gd name="connsiteY0" fmla="*/ 0 h 2757714"/>
                      <a:gd name="connsiteX1" fmla="*/ 1378857 w 1378857"/>
                      <a:gd name="connsiteY1" fmla="*/ 1378857 h 2757714"/>
                      <a:gd name="connsiteX2" fmla="*/ 0 w 1378857"/>
                      <a:gd name="connsiteY2" fmla="*/ 2757714 h 2757714"/>
                      <a:gd name="connsiteX3" fmla="*/ 0 w 1378857"/>
                      <a:gd name="connsiteY3" fmla="*/ 0 h 275771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78857" h="2757714">
                        <a:moveTo>
                          <a:pt x="0" y="0"/>
                        </a:moveTo>
                        <a:cubicBezTo>
                          <a:pt x="761522" y="0"/>
                          <a:pt x="1378857" y="617335"/>
                          <a:pt x="1378857" y="1378857"/>
                        </a:cubicBezTo>
                        <a:cubicBezTo>
                          <a:pt x="1378857" y="2140379"/>
                          <a:pt x="761522" y="2757714"/>
                          <a:pt x="0" y="2757714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accent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4" name="Freeform: Shape 53">
                    <a:extLst>
                      <a:ext uri="{FF2B5EF4-FFF2-40B4-BE49-F238E27FC236}">
                        <a16:creationId xmlns:a16="http://schemas.microsoft.com/office/drawing/2014/main" id="{029258C0-27F9-4E7C-B146-9645D6C6CA26}"/>
                      </a:ext>
                    </a:extLst>
                  </p:cNvPr>
                  <p:cNvSpPr/>
                  <p:nvPr/>
                </p:nvSpPr>
                <p:spPr>
                  <a:xfrm>
                    <a:off x="3193143" y="1833336"/>
                    <a:ext cx="1378857" cy="2757714"/>
                  </a:xfrm>
                  <a:custGeom>
                    <a:avLst/>
                    <a:gdLst>
                      <a:gd name="connsiteX0" fmla="*/ 1378857 w 1378857"/>
                      <a:gd name="connsiteY0" fmla="*/ 0 h 2757714"/>
                      <a:gd name="connsiteX1" fmla="*/ 1378857 w 1378857"/>
                      <a:gd name="connsiteY1" fmla="*/ 2757714 h 2757714"/>
                      <a:gd name="connsiteX2" fmla="*/ 0 w 1378857"/>
                      <a:gd name="connsiteY2" fmla="*/ 1378857 h 2757714"/>
                      <a:gd name="connsiteX3" fmla="*/ 1378857 w 1378857"/>
                      <a:gd name="connsiteY3" fmla="*/ 0 h 275771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78857" h="2757714">
                        <a:moveTo>
                          <a:pt x="1378857" y="0"/>
                        </a:moveTo>
                        <a:lnTo>
                          <a:pt x="1378857" y="2757714"/>
                        </a:lnTo>
                        <a:cubicBezTo>
                          <a:pt x="617335" y="2757714"/>
                          <a:pt x="0" y="2140379"/>
                          <a:pt x="0" y="1378857"/>
                        </a:cubicBezTo>
                        <a:cubicBezTo>
                          <a:pt x="0" y="617335"/>
                          <a:pt x="617335" y="0"/>
                          <a:pt x="1378857" y="0"/>
                        </a:cubicBezTo>
                        <a:close/>
                      </a:path>
                    </a:pathLst>
                  </a:custGeom>
                  <a:solidFill>
                    <a:schemeClr val="accent6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grpSp>
              <p:nvGrpSpPr>
                <p:cNvPr id="50" name="Group 49">
                  <a:extLst>
                    <a:ext uri="{FF2B5EF4-FFF2-40B4-BE49-F238E27FC236}">
                      <a16:creationId xmlns:a16="http://schemas.microsoft.com/office/drawing/2014/main" id="{8F1DBE67-BCFA-4B50-8D3D-F2B4CE4955C2}"/>
                    </a:ext>
                  </a:extLst>
                </p:cNvPr>
                <p:cNvGrpSpPr/>
                <p:nvPr/>
              </p:nvGrpSpPr>
              <p:grpSpPr>
                <a:xfrm>
                  <a:off x="4194006" y="378736"/>
                  <a:ext cx="2280867" cy="2280867"/>
                  <a:chOff x="3193144" y="1833336"/>
                  <a:chExt cx="2757714" cy="2757714"/>
                </a:xfrm>
              </p:grpSpPr>
              <p:sp>
                <p:nvSpPr>
                  <p:cNvPr id="51" name="Freeform: Shape 50">
                    <a:extLst>
                      <a:ext uri="{FF2B5EF4-FFF2-40B4-BE49-F238E27FC236}">
                        <a16:creationId xmlns:a16="http://schemas.microsoft.com/office/drawing/2014/main" id="{78EEC3EA-51D1-4929-9739-61FD9893134C}"/>
                      </a:ext>
                    </a:extLst>
                  </p:cNvPr>
                  <p:cNvSpPr/>
                  <p:nvPr/>
                </p:nvSpPr>
                <p:spPr>
                  <a:xfrm>
                    <a:off x="4572001" y="1833336"/>
                    <a:ext cx="1378857" cy="2757714"/>
                  </a:xfrm>
                  <a:custGeom>
                    <a:avLst/>
                    <a:gdLst>
                      <a:gd name="connsiteX0" fmla="*/ 0 w 1378857"/>
                      <a:gd name="connsiteY0" fmla="*/ 0 h 2757714"/>
                      <a:gd name="connsiteX1" fmla="*/ 1378857 w 1378857"/>
                      <a:gd name="connsiteY1" fmla="*/ 1378857 h 2757714"/>
                      <a:gd name="connsiteX2" fmla="*/ 0 w 1378857"/>
                      <a:gd name="connsiteY2" fmla="*/ 2757714 h 2757714"/>
                      <a:gd name="connsiteX3" fmla="*/ 0 w 1378857"/>
                      <a:gd name="connsiteY3" fmla="*/ 0 h 275771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78857" h="2757714">
                        <a:moveTo>
                          <a:pt x="0" y="0"/>
                        </a:moveTo>
                        <a:cubicBezTo>
                          <a:pt x="761522" y="0"/>
                          <a:pt x="1378857" y="617335"/>
                          <a:pt x="1378857" y="1378857"/>
                        </a:cubicBezTo>
                        <a:cubicBezTo>
                          <a:pt x="1378857" y="2140379"/>
                          <a:pt x="761522" y="2757714"/>
                          <a:pt x="0" y="2757714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accent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52" name="Freeform: Shape 51">
                    <a:extLst>
                      <a:ext uri="{FF2B5EF4-FFF2-40B4-BE49-F238E27FC236}">
                        <a16:creationId xmlns:a16="http://schemas.microsoft.com/office/drawing/2014/main" id="{861619DE-AFED-458A-A918-47BC95C48648}"/>
                      </a:ext>
                    </a:extLst>
                  </p:cNvPr>
                  <p:cNvSpPr/>
                  <p:nvPr/>
                </p:nvSpPr>
                <p:spPr>
                  <a:xfrm>
                    <a:off x="3193144" y="1833336"/>
                    <a:ext cx="1378857" cy="2757714"/>
                  </a:xfrm>
                  <a:custGeom>
                    <a:avLst/>
                    <a:gdLst>
                      <a:gd name="connsiteX0" fmla="*/ 1378857 w 1378857"/>
                      <a:gd name="connsiteY0" fmla="*/ 0 h 2757714"/>
                      <a:gd name="connsiteX1" fmla="*/ 1378857 w 1378857"/>
                      <a:gd name="connsiteY1" fmla="*/ 2757714 h 2757714"/>
                      <a:gd name="connsiteX2" fmla="*/ 0 w 1378857"/>
                      <a:gd name="connsiteY2" fmla="*/ 1378857 h 2757714"/>
                      <a:gd name="connsiteX3" fmla="*/ 1378857 w 1378857"/>
                      <a:gd name="connsiteY3" fmla="*/ 0 h 275771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78857" h="2757714">
                        <a:moveTo>
                          <a:pt x="1378857" y="0"/>
                        </a:moveTo>
                        <a:lnTo>
                          <a:pt x="1378857" y="2757714"/>
                        </a:lnTo>
                        <a:cubicBezTo>
                          <a:pt x="617335" y="2757714"/>
                          <a:pt x="0" y="2140379"/>
                          <a:pt x="0" y="1378857"/>
                        </a:cubicBezTo>
                        <a:cubicBezTo>
                          <a:pt x="0" y="617335"/>
                          <a:pt x="617335" y="0"/>
                          <a:pt x="1378857" y="0"/>
                        </a:cubicBezTo>
                        <a:close/>
                      </a:path>
                    </a:pathLst>
                  </a:custGeom>
                  <a:solidFill>
                    <a:schemeClr val="accent6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</p:grpSp>
        </p:grp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4F13B99E-1DA5-46E0-997C-A5143AD7EF8B}"/>
              </a:ext>
            </a:extLst>
          </p:cNvPr>
          <p:cNvGrpSpPr/>
          <p:nvPr/>
        </p:nvGrpSpPr>
        <p:grpSpPr>
          <a:xfrm>
            <a:off x="2910567" y="5959222"/>
            <a:ext cx="1024762" cy="723212"/>
            <a:chOff x="2102523" y="2013100"/>
            <a:chExt cx="2983284" cy="2105412"/>
          </a:xfrm>
        </p:grpSpPr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193A8F41-2884-49E0-B459-25E9B4DA29E9}"/>
                </a:ext>
              </a:extLst>
            </p:cNvPr>
            <p:cNvSpPr/>
            <p:nvPr/>
          </p:nvSpPr>
          <p:spPr>
            <a:xfrm>
              <a:off x="2102523" y="3609421"/>
              <a:ext cx="2717042" cy="509091"/>
            </a:xfrm>
            <a:prstGeom prst="ellipse">
              <a:avLst/>
            </a:prstGeom>
            <a:solidFill>
              <a:schemeClr val="tx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E2AF8EC6-7175-48A7-A794-DCE4CE01DC85}"/>
                </a:ext>
              </a:extLst>
            </p:cNvPr>
            <p:cNvGrpSpPr/>
            <p:nvPr/>
          </p:nvGrpSpPr>
          <p:grpSpPr>
            <a:xfrm>
              <a:off x="2190105" y="2013100"/>
              <a:ext cx="2895702" cy="1916560"/>
              <a:chOff x="2190105" y="2013100"/>
              <a:chExt cx="2895702" cy="1916560"/>
            </a:xfrm>
          </p:grpSpPr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02BF3B27-43A5-4F65-AB1C-72980FF13B3B}"/>
                  </a:ext>
                </a:extLst>
              </p:cNvPr>
              <p:cNvSpPr/>
              <p:nvPr/>
            </p:nvSpPr>
            <p:spPr>
              <a:xfrm>
                <a:off x="2190105" y="2013100"/>
                <a:ext cx="2895702" cy="1850867"/>
              </a:xfrm>
              <a:custGeom>
                <a:avLst/>
                <a:gdLst>
                  <a:gd name="connsiteX0" fmla="*/ 2480054 w 2895702"/>
                  <a:gd name="connsiteY0" fmla="*/ 97 h 1850867"/>
                  <a:gd name="connsiteX1" fmla="*/ 2569632 w 2895702"/>
                  <a:gd name="connsiteY1" fmla="*/ 16258 h 1850867"/>
                  <a:gd name="connsiteX2" fmla="*/ 2729006 w 2895702"/>
                  <a:gd name="connsiteY2" fmla="*/ 64036 h 1850867"/>
                  <a:gd name="connsiteX3" fmla="*/ 2481527 w 2895702"/>
                  <a:gd name="connsiteY3" fmla="*/ 112377 h 1850867"/>
                  <a:gd name="connsiteX4" fmla="*/ 2736863 w 2895702"/>
                  <a:gd name="connsiteY4" fmla="*/ 296184 h 1850867"/>
                  <a:gd name="connsiteX5" fmla="*/ 2832824 w 2895702"/>
                  <a:gd name="connsiteY5" fmla="*/ 535638 h 1850867"/>
                  <a:gd name="connsiteX6" fmla="*/ 2449540 w 2895702"/>
                  <a:gd name="connsiteY6" fmla="*/ 599718 h 1850867"/>
                  <a:gd name="connsiteX7" fmla="*/ 2414902 w 2895702"/>
                  <a:gd name="connsiteY7" fmla="*/ 622253 h 1850867"/>
                  <a:gd name="connsiteX8" fmla="*/ 2387056 w 2895702"/>
                  <a:gd name="connsiteY8" fmla="*/ 649489 h 1850867"/>
                  <a:gd name="connsiteX9" fmla="*/ 2380369 w 2895702"/>
                  <a:gd name="connsiteY9" fmla="*/ 630869 h 1850867"/>
                  <a:gd name="connsiteX10" fmla="*/ 2362844 w 2895702"/>
                  <a:gd name="connsiteY10" fmla="*/ 515788 h 1850867"/>
                  <a:gd name="connsiteX11" fmla="*/ 2215207 w 2895702"/>
                  <a:gd name="connsiteY11" fmla="*/ 487213 h 1850867"/>
                  <a:gd name="connsiteX12" fmla="*/ 2119957 w 2895702"/>
                  <a:gd name="connsiteY12" fmla="*/ 539600 h 1850867"/>
                  <a:gd name="connsiteX13" fmla="*/ 2119957 w 2895702"/>
                  <a:gd name="connsiteY13" fmla="*/ 706288 h 1850867"/>
                  <a:gd name="connsiteX14" fmla="*/ 2210444 w 2895702"/>
                  <a:gd name="connsiteY14" fmla="*/ 939650 h 1850867"/>
                  <a:gd name="connsiteX15" fmla="*/ 2228155 w 2895702"/>
                  <a:gd name="connsiteY15" fmla="*/ 961230 h 1850867"/>
                  <a:gd name="connsiteX16" fmla="*/ 2222965 w 2895702"/>
                  <a:gd name="connsiteY16" fmla="*/ 972829 h 1850867"/>
                  <a:gd name="connsiteX17" fmla="*/ 2193082 w 2895702"/>
                  <a:gd name="connsiteY17" fmla="*/ 1041669 h 1850867"/>
                  <a:gd name="connsiteX18" fmla="*/ 2172855 w 2895702"/>
                  <a:gd name="connsiteY18" fmla="*/ 1085691 h 1850867"/>
                  <a:gd name="connsiteX19" fmla="*/ 2166282 w 2895702"/>
                  <a:gd name="connsiteY19" fmla="*/ 1084690 h 1850867"/>
                  <a:gd name="connsiteX20" fmla="*/ 1966257 w 2895702"/>
                  <a:gd name="connsiteY20" fmla="*/ 1083391 h 1850867"/>
                  <a:gd name="connsiteX21" fmla="*/ 1748048 w 2895702"/>
                  <a:gd name="connsiteY21" fmla="*/ 1197691 h 1850867"/>
                  <a:gd name="connsiteX22" fmla="*/ 1800002 w 2895702"/>
                  <a:gd name="connsiteY22" fmla="*/ 1395118 h 1850867"/>
                  <a:gd name="connsiteX23" fmla="*/ 1922745 w 2895702"/>
                  <a:gd name="connsiteY23" fmla="*/ 1485389 h 1850867"/>
                  <a:gd name="connsiteX24" fmla="*/ 1953145 w 2895702"/>
                  <a:gd name="connsiteY24" fmla="*/ 1499410 h 1850867"/>
                  <a:gd name="connsiteX25" fmla="*/ 1969988 w 2895702"/>
                  <a:gd name="connsiteY25" fmla="*/ 1599000 h 1850867"/>
                  <a:gd name="connsiteX26" fmla="*/ 1994986 w 2895702"/>
                  <a:gd name="connsiteY26" fmla="*/ 1686820 h 1850867"/>
                  <a:gd name="connsiteX27" fmla="*/ 2045071 w 2895702"/>
                  <a:gd name="connsiteY27" fmla="*/ 1786171 h 1850867"/>
                  <a:gd name="connsiteX28" fmla="*/ 2049713 w 2895702"/>
                  <a:gd name="connsiteY28" fmla="*/ 1796151 h 1850867"/>
                  <a:gd name="connsiteX29" fmla="*/ 2000894 w 2895702"/>
                  <a:gd name="connsiteY29" fmla="*/ 1794519 h 1850867"/>
                  <a:gd name="connsiteX30" fmla="*/ 1924525 w 2895702"/>
                  <a:gd name="connsiteY30" fmla="*/ 1798364 h 1850867"/>
                  <a:gd name="connsiteX31" fmla="*/ 1923155 w 2895702"/>
                  <a:gd name="connsiteY31" fmla="*/ 1790808 h 1850867"/>
                  <a:gd name="connsiteX32" fmla="*/ 1867038 w 2895702"/>
                  <a:gd name="connsiteY32" fmla="*/ 1614871 h 1850867"/>
                  <a:gd name="connsiteX33" fmla="*/ 1795207 w 2895702"/>
                  <a:gd name="connsiteY33" fmla="*/ 1423195 h 1850867"/>
                  <a:gd name="connsiteX34" fmla="*/ 1795207 w 2895702"/>
                  <a:gd name="connsiteY34" fmla="*/ 1694689 h 1850867"/>
                  <a:gd name="connsiteX35" fmla="*/ 1825651 w 2895702"/>
                  <a:gd name="connsiteY35" fmla="*/ 1801909 h 1850867"/>
                  <a:gd name="connsiteX36" fmla="*/ 1828692 w 2895702"/>
                  <a:gd name="connsiteY36" fmla="*/ 1808083 h 1850867"/>
                  <a:gd name="connsiteX37" fmla="*/ 1802834 w 2895702"/>
                  <a:gd name="connsiteY37" fmla="*/ 1812735 h 1850867"/>
                  <a:gd name="connsiteX38" fmla="*/ 1703714 w 2895702"/>
                  <a:gd name="connsiteY38" fmla="*/ 1850240 h 1850867"/>
                  <a:gd name="connsiteX39" fmla="*/ 1700744 w 2895702"/>
                  <a:gd name="connsiteY39" fmla="*/ 1850867 h 1850867"/>
                  <a:gd name="connsiteX40" fmla="*/ 1699807 w 2895702"/>
                  <a:gd name="connsiteY40" fmla="*/ 1846456 h 1850867"/>
                  <a:gd name="connsiteX41" fmla="*/ 1659963 w 2895702"/>
                  <a:gd name="connsiteY41" fmla="*/ 1798677 h 1850867"/>
                  <a:gd name="connsiteX42" fmla="*/ 1643689 w 2895702"/>
                  <a:gd name="connsiteY42" fmla="*/ 1542922 h 1850867"/>
                  <a:gd name="connsiteX43" fmla="*/ 1516302 w 2895702"/>
                  <a:gd name="connsiteY43" fmla="*/ 1255127 h 1850867"/>
                  <a:gd name="connsiteX44" fmla="*/ 1053330 w 2895702"/>
                  <a:gd name="connsiteY44" fmla="*/ 1262996 h 1850867"/>
                  <a:gd name="connsiteX45" fmla="*/ 901812 w 2895702"/>
                  <a:gd name="connsiteY45" fmla="*/ 1302905 h 1850867"/>
                  <a:gd name="connsiteX46" fmla="*/ 845695 w 2895702"/>
                  <a:gd name="connsiteY46" fmla="*/ 1359115 h 1850867"/>
                  <a:gd name="connsiteX47" fmla="*/ 790138 w 2895702"/>
                  <a:gd name="connsiteY47" fmla="*/ 1366984 h 1850867"/>
                  <a:gd name="connsiteX48" fmla="*/ 726164 w 2895702"/>
                  <a:gd name="connsiteY48" fmla="*/ 1383285 h 1850867"/>
                  <a:gd name="connsiteX49" fmla="*/ 662190 w 2895702"/>
                  <a:gd name="connsiteY49" fmla="*/ 1351246 h 1850867"/>
                  <a:gd name="connsiteX50" fmla="*/ 638059 w 2895702"/>
                  <a:gd name="connsiteY50" fmla="*/ 1527183 h 1850867"/>
                  <a:gd name="connsiteX51" fmla="*/ 747042 w 2895702"/>
                  <a:gd name="connsiteY51" fmla="*/ 1797834 h 1850867"/>
                  <a:gd name="connsiteX52" fmla="*/ 749930 w 2895702"/>
                  <a:gd name="connsiteY52" fmla="*/ 1807367 h 1850867"/>
                  <a:gd name="connsiteX53" fmla="*/ 735974 w 2895702"/>
                  <a:gd name="connsiteY53" fmla="*/ 1804996 h 1850867"/>
                  <a:gd name="connsiteX54" fmla="*/ 614054 w 2895702"/>
                  <a:gd name="connsiteY54" fmla="*/ 1789280 h 1850867"/>
                  <a:gd name="connsiteX55" fmla="*/ 598359 w 2895702"/>
                  <a:gd name="connsiteY55" fmla="*/ 1790442 h 1850867"/>
                  <a:gd name="connsiteX56" fmla="*/ 586999 w 2895702"/>
                  <a:gd name="connsiteY56" fmla="*/ 1761155 h 1850867"/>
                  <a:gd name="connsiteX57" fmla="*/ 558372 w 2895702"/>
                  <a:gd name="connsiteY57" fmla="*/ 1599132 h 1850867"/>
                  <a:gd name="connsiteX58" fmla="*/ 423128 w 2895702"/>
                  <a:gd name="connsiteY58" fmla="*/ 1295036 h 1850867"/>
                  <a:gd name="connsiteX59" fmla="*/ 359154 w 2895702"/>
                  <a:gd name="connsiteY59" fmla="*/ 1671081 h 1850867"/>
                  <a:gd name="connsiteX60" fmla="*/ 378585 w 2895702"/>
                  <a:gd name="connsiteY60" fmla="*/ 1750126 h 1850867"/>
                  <a:gd name="connsiteX61" fmla="*/ 405244 w 2895702"/>
                  <a:gd name="connsiteY61" fmla="*/ 1818706 h 1850867"/>
                  <a:gd name="connsiteX62" fmla="*/ 377834 w 2895702"/>
                  <a:gd name="connsiteY62" fmla="*/ 1819760 h 1850867"/>
                  <a:gd name="connsiteX63" fmla="*/ 291157 w 2895702"/>
                  <a:gd name="connsiteY63" fmla="*/ 1812616 h 1850867"/>
                  <a:gd name="connsiteX64" fmla="*/ 285747 w 2895702"/>
                  <a:gd name="connsiteY64" fmla="*/ 1812721 h 1850867"/>
                  <a:gd name="connsiteX65" fmla="*/ 274057 w 2895702"/>
                  <a:gd name="connsiteY65" fmla="*/ 1800153 h 1850867"/>
                  <a:gd name="connsiteX66" fmla="*/ 231205 w 2895702"/>
                  <a:gd name="connsiteY66" fmla="*/ 1766638 h 1850867"/>
                  <a:gd name="connsiteX67" fmla="*/ 239062 w 2895702"/>
                  <a:gd name="connsiteY67" fmla="*/ 1590700 h 1850867"/>
                  <a:gd name="connsiteX68" fmla="*/ 191362 w 2895702"/>
                  <a:gd name="connsiteY68" fmla="*/ 1415325 h 1850867"/>
                  <a:gd name="connsiteX69" fmla="*/ 239062 w 2895702"/>
                  <a:gd name="connsiteY69" fmla="*/ 1247257 h 1850867"/>
                  <a:gd name="connsiteX70" fmla="*/ 263192 w 2895702"/>
                  <a:gd name="connsiteY70" fmla="*/ 455820 h 1850867"/>
                  <a:gd name="connsiteX71" fmla="*/ 167231 w 2895702"/>
                  <a:gd name="connsiteY71" fmla="*/ 863343 h 1850867"/>
                  <a:gd name="connsiteX72" fmla="*/ 135805 w 2895702"/>
                  <a:gd name="connsiteY72" fmla="*/ 1087621 h 1850867"/>
                  <a:gd name="connsiteX73" fmla="*/ 63974 w 2895702"/>
                  <a:gd name="connsiteY73" fmla="*/ 1238826 h 1850867"/>
                  <a:gd name="connsiteX74" fmla="*/ 63974 w 2895702"/>
                  <a:gd name="connsiteY74" fmla="*/ 1239388 h 1850867"/>
                  <a:gd name="connsiteX75" fmla="*/ 0 w 2895702"/>
                  <a:gd name="connsiteY75" fmla="*/ 1311337 h 1850867"/>
                  <a:gd name="connsiteX76" fmla="*/ 31987 w 2895702"/>
                  <a:gd name="connsiteY76" fmla="*/ 1111229 h 1850867"/>
                  <a:gd name="connsiteX77" fmla="*/ 103818 w 2895702"/>
                  <a:gd name="connsiteY77" fmla="*/ 951592 h 1850867"/>
                  <a:gd name="connsiteX78" fmla="*/ 159375 w 2895702"/>
                  <a:gd name="connsiteY78" fmla="*/ 591848 h 1850867"/>
                  <a:gd name="connsiteX79" fmla="*/ 319310 w 2895702"/>
                  <a:gd name="connsiteY79" fmla="*/ 296184 h 1850867"/>
                  <a:gd name="connsiteX80" fmla="*/ 622030 w 2895702"/>
                  <a:gd name="connsiteY80" fmla="*/ 269308 h 1850867"/>
                  <a:gd name="connsiteX81" fmla="*/ 724248 w 2895702"/>
                  <a:gd name="connsiteY81" fmla="*/ 279689 h 1850867"/>
                  <a:gd name="connsiteX82" fmla="*/ 753767 w 2895702"/>
                  <a:gd name="connsiteY82" fmla="*/ 319009 h 1850867"/>
                  <a:gd name="connsiteX83" fmla="*/ 1010292 w 2895702"/>
                  <a:gd name="connsiteY83" fmla="*/ 501499 h 1850867"/>
                  <a:gd name="connsiteX84" fmla="*/ 1758437 w 2895702"/>
                  <a:gd name="connsiteY84" fmla="*/ 532672 h 1850867"/>
                  <a:gd name="connsiteX85" fmla="*/ 1957813 w 2895702"/>
                  <a:gd name="connsiteY85" fmla="*/ 280043 h 1850867"/>
                  <a:gd name="connsiteX86" fmla="*/ 1973660 w 2895702"/>
                  <a:gd name="connsiteY86" fmla="*/ 234754 h 1850867"/>
                  <a:gd name="connsiteX87" fmla="*/ 2058960 w 2895702"/>
                  <a:gd name="connsiteY87" fmla="*/ 239974 h 1850867"/>
                  <a:gd name="connsiteX88" fmla="*/ 2250322 w 2895702"/>
                  <a:gd name="connsiteY88" fmla="*/ 192195 h 1850867"/>
                  <a:gd name="connsiteX89" fmla="*/ 2282309 w 2895702"/>
                  <a:gd name="connsiteY89" fmla="*/ 72468 h 1850867"/>
                  <a:gd name="connsiteX90" fmla="*/ 2354140 w 2895702"/>
                  <a:gd name="connsiteY90" fmla="*/ 112377 h 1850867"/>
                  <a:gd name="connsiteX91" fmla="*/ 2401840 w 2895702"/>
                  <a:gd name="connsiteY91" fmla="*/ 40428 h 1850867"/>
                  <a:gd name="connsiteX92" fmla="*/ 2480054 w 2895702"/>
                  <a:gd name="connsiteY92" fmla="*/ 97 h 1850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</a:cxnLst>
                <a:rect l="l" t="t" r="r" b="b"/>
                <a:pathLst>
                  <a:path w="2895702" h="1850867">
                    <a:moveTo>
                      <a:pt x="2480054" y="97"/>
                    </a:moveTo>
                    <a:cubicBezTo>
                      <a:pt x="2504816" y="1222"/>
                      <a:pt x="2531472" y="11761"/>
                      <a:pt x="2569632" y="16258"/>
                    </a:cubicBezTo>
                    <a:cubicBezTo>
                      <a:pt x="2635851" y="24127"/>
                      <a:pt x="2813183" y="-11285"/>
                      <a:pt x="2729006" y="64036"/>
                    </a:cubicBezTo>
                    <a:cubicBezTo>
                      <a:pt x="2684112" y="104507"/>
                      <a:pt x="2539328" y="107880"/>
                      <a:pt x="2481527" y="112377"/>
                    </a:cubicBezTo>
                    <a:cubicBezTo>
                      <a:pt x="2584784" y="153410"/>
                      <a:pt x="2669522" y="228732"/>
                      <a:pt x="2736863" y="296184"/>
                    </a:cubicBezTo>
                    <a:cubicBezTo>
                      <a:pt x="2817672" y="377126"/>
                      <a:pt x="2987709" y="460317"/>
                      <a:pt x="2832824" y="535638"/>
                    </a:cubicBezTo>
                    <a:cubicBezTo>
                      <a:pt x="2727323" y="587351"/>
                      <a:pt x="2554480" y="547442"/>
                      <a:pt x="2449540" y="599718"/>
                    </a:cubicBezTo>
                    <a:cubicBezTo>
                      <a:pt x="2437124" y="605972"/>
                      <a:pt x="2425629" y="613542"/>
                      <a:pt x="2414902" y="622253"/>
                    </a:cubicBezTo>
                    <a:lnTo>
                      <a:pt x="2387056" y="649489"/>
                    </a:lnTo>
                    <a:lnTo>
                      <a:pt x="2380369" y="630869"/>
                    </a:lnTo>
                    <a:cubicBezTo>
                      <a:pt x="2368053" y="581570"/>
                      <a:pt x="2386657" y="540195"/>
                      <a:pt x="2362844" y="515788"/>
                    </a:cubicBezTo>
                    <a:cubicBezTo>
                      <a:pt x="2331094" y="483245"/>
                      <a:pt x="2255688" y="483244"/>
                      <a:pt x="2215207" y="487213"/>
                    </a:cubicBezTo>
                    <a:cubicBezTo>
                      <a:pt x="2174726" y="491182"/>
                      <a:pt x="2135832" y="503087"/>
                      <a:pt x="2119957" y="539600"/>
                    </a:cubicBezTo>
                    <a:cubicBezTo>
                      <a:pt x="2104082" y="576112"/>
                      <a:pt x="2104876" y="639613"/>
                      <a:pt x="2119957" y="706288"/>
                    </a:cubicBezTo>
                    <a:cubicBezTo>
                      <a:pt x="2135038" y="772963"/>
                      <a:pt x="2162025" y="876944"/>
                      <a:pt x="2210444" y="939650"/>
                    </a:cubicBezTo>
                    <a:lnTo>
                      <a:pt x="2228155" y="961230"/>
                    </a:lnTo>
                    <a:lnTo>
                      <a:pt x="2222965" y="972829"/>
                    </a:lnTo>
                    <a:cubicBezTo>
                      <a:pt x="2213355" y="994979"/>
                      <a:pt x="2203324" y="1018412"/>
                      <a:pt x="2193082" y="1041669"/>
                    </a:cubicBezTo>
                    <a:lnTo>
                      <a:pt x="2172855" y="1085691"/>
                    </a:lnTo>
                    <a:lnTo>
                      <a:pt x="2166282" y="1084690"/>
                    </a:lnTo>
                    <a:cubicBezTo>
                      <a:pt x="2094412" y="1076896"/>
                      <a:pt x="2013016" y="1079061"/>
                      <a:pt x="1966257" y="1083391"/>
                    </a:cubicBezTo>
                    <a:cubicBezTo>
                      <a:pt x="1872739" y="1092050"/>
                      <a:pt x="1775757" y="1145737"/>
                      <a:pt x="1748048" y="1197691"/>
                    </a:cubicBezTo>
                    <a:cubicBezTo>
                      <a:pt x="1720339" y="1249645"/>
                      <a:pt x="1746316" y="1343163"/>
                      <a:pt x="1800002" y="1395118"/>
                    </a:cubicBezTo>
                    <a:cubicBezTo>
                      <a:pt x="1826845" y="1421096"/>
                      <a:pt x="1872738" y="1458763"/>
                      <a:pt x="1922745" y="1485389"/>
                    </a:cubicBezTo>
                    <a:lnTo>
                      <a:pt x="1953145" y="1499410"/>
                    </a:lnTo>
                    <a:lnTo>
                      <a:pt x="1969988" y="1599000"/>
                    </a:lnTo>
                    <a:cubicBezTo>
                      <a:pt x="1977941" y="1634123"/>
                      <a:pt x="1986849" y="1664898"/>
                      <a:pt x="1994986" y="1686820"/>
                    </a:cubicBezTo>
                    <a:cubicBezTo>
                      <a:pt x="2009296" y="1725604"/>
                      <a:pt x="2028236" y="1755115"/>
                      <a:pt x="2045071" y="1786171"/>
                    </a:cubicBezTo>
                    <a:lnTo>
                      <a:pt x="2049713" y="1796151"/>
                    </a:lnTo>
                    <a:lnTo>
                      <a:pt x="2000894" y="1794519"/>
                    </a:lnTo>
                    <a:lnTo>
                      <a:pt x="1924525" y="1798364"/>
                    </a:lnTo>
                    <a:lnTo>
                      <a:pt x="1923155" y="1790808"/>
                    </a:lnTo>
                    <a:cubicBezTo>
                      <a:pt x="1868721" y="1834090"/>
                      <a:pt x="1877139" y="1664898"/>
                      <a:pt x="1867038" y="1614871"/>
                    </a:cubicBezTo>
                    <a:cubicBezTo>
                      <a:pt x="1858059" y="1569341"/>
                      <a:pt x="1829439" y="1391155"/>
                      <a:pt x="1795207" y="1423195"/>
                    </a:cubicBezTo>
                    <a:cubicBezTo>
                      <a:pt x="1759292" y="1456358"/>
                      <a:pt x="1789595" y="1647472"/>
                      <a:pt x="1795207" y="1694689"/>
                    </a:cubicBezTo>
                    <a:cubicBezTo>
                      <a:pt x="1801100" y="1743872"/>
                      <a:pt x="1812463" y="1774085"/>
                      <a:pt x="1825651" y="1801909"/>
                    </a:cubicBezTo>
                    <a:lnTo>
                      <a:pt x="1828692" y="1808083"/>
                    </a:lnTo>
                    <a:lnTo>
                      <a:pt x="1802834" y="1812735"/>
                    </a:lnTo>
                    <a:cubicBezTo>
                      <a:pt x="1764436" y="1823808"/>
                      <a:pt x="1743719" y="1841668"/>
                      <a:pt x="1703714" y="1850240"/>
                    </a:cubicBezTo>
                    <a:lnTo>
                      <a:pt x="1700744" y="1850867"/>
                    </a:lnTo>
                    <a:lnTo>
                      <a:pt x="1699807" y="1846456"/>
                    </a:lnTo>
                    <a:cubicBezTo>
                      <a:pt x="1704296" y="1850391"/>
                      <a:pt x="1652107" y="1773383"/>
                      <a:pt x="1659963" y="1798677"/>
                    </a:cubicBezTo>
                    <a:cubicBezTo>
                      <a:pt x="1641444" y="1736846"/>
                      <a:pt x="1651546" y="1609812"/>
                      <a:pt x="1643689" y="1542922"/>
                    </a:cubicBezTo>
                    <a:cubicBezTo>
                      <a:pt x="1631343" y="1436685"/>
                      <a:pt x="1587010" y="1286604"/>
                      <a:pt x="1516302" y="1255127"/>
                    </a:cubicBezTo>
                    <a:cubicBezTo>
                      <a:pt x="1428197" y="1215780"/>
                      <a:pt x="1175106" y="1272552"/>
                      <a:pt x="1053330" y="1262996"/>
                    </a:cubicBezTo>
                    <a:cubicBezTo>
                      <a:pt x="952318" y="1255689"/>
                      <a:pt x="956247" y="1251192"/>
                      <a:pt x="901812" y="1302905"/>
                    </a:cubicBezTo>
                    <a:cubicBezTo>
                      <a:pt x="881049" y="1322579"/>
                      <a:pt x="875437" y="1344500"/>
                      <a:pt x="845695" y="1359115"/>
                    </a:cubicBezTo>
                    <a:cubicBezTo>
                      <a:pt x="812585" y="1375416"/>
                      <a:pt x="815391" y="1360801"/>
                      <a:pt x="790138" y="1366984"/>
                    </a:cubicBezTo>
                    <a:cubicBezTo>
                      <a:pt x="815391" y="1360801"/>
                      <a:pt x="697544" y="1379351"/>
                      <a:pt x="726164" y="1383285"/>
                    </a:cubicBezTo>
                    <a:cubicBezTo>
                      <a:pt x="712134" y="1381599"/>
                      <a:pt x="666679" y="1350684"/>
                      <a:pt x="662190" y="1351246"/>
                    </a:cubicBezTo>
                    <a:cubicBezTo>
                      <a:pt x="588675" y="1361363"/>
                      <a:pt x="617295" y="1440620"/>
                      <a:pt x="638059" y="1527183"/>
                    </a:cubicBezTo>
                    <a:cubicBezTo>
                      <a:pt x="666258" y="1643959"/>
                      <a:pt x="714029" y="1715205"/>
                      <a:pt x="747042" y="1797834"/>
                    </a:cubicBezTo>
                    <a:lnTo>
                      <a:pt x="749930" y="1807367"/>
                    </a:lnTo>
                    <a:lnTo>
                      <a:pt x="735974" y="1804996"/>
                    </a:lnTo>
                    <a:cubicBezTo>
                      <a:pt x="690889" y="1797535"/>
                      <a:pt x="639454" y="1789915"/>
                      <a:pt x="614054" y="1789280"/>
                    </a:cubicBezTo>
                    <a:lnTo>
                      <a:pt x="598359" y="1790442"/>
                    </a:lnTo>
                    <a:lnTo>
                      <a:pt x="586999" y="1761155"/>
                    </a:lnTo>
                    <a:cubicBezTo>
                      <a:pt x="573629" y="1715408"/>
                      <a:pt x="568052" y="1659839"/>
                      <a:pt x="558372" y="1599132"/>
                    </a:cubicBezTo>
                    <a:cubicBezTo>
                      <a:pt x="544342" y="1509758"/>
                      <a:pt x="485419" y="1336069"/>
                      <a:pt x="423128" y="1295036"/>
                    </a:cubicBezTo>
                    <a:cubicBezTo>
                      <a:pt x="369816" y="1391155"/>
                      <a:pt x="341196" y="1523810"/>
                      <a:pt x="359154" y="1671081"/>
                    </a:cubicBezTo>
                    <a:cubicBezTo>
                      <a:pt x="362241" y="1697780"/>
                      <a:pt x="369676" y="1724480"/>
                      <a:pt x="378585" y="1750126"/>
                    </a:cubicBezTo>
                    <a:lnTo>
                      <a:pt x="405244" y="1818706"/>
                    </a:lnTo>
                    <a:lnTo>
                      <a:pt x="377834" y="1819760"/>
                    </a:lnTo>
                    <a:cubicBezTo>
                      <a:pt x="377834" y="1819760"/>
                      <a:pt x="335924" y="1814363"/>
                      <a:pt x="291157" y="1812616"/>
                    </a:cubicBezTo>
                    <a:lnTo>
                      <a:pt x="285747" y="1812721"/>
                    </a:lnTo>
                    <a:lnTo>
                      <a:pt x="274057" y="1800153"/>
                    </a:lnTo>
                    <a:cubicBezTo>
                      <a:pt x="258668" y="1789930"/>
                      <a:pt x="238781" y="1788560"/>
                      <a:pt x="231205" y="1766638"/>
                    </a:cubicBezTo>
                    <a:cubicBezTo>
                      <a:pt x="212125" y="1708741"/>
                      <a:pt x="239062" y="1651407"/>
                      <a:pt x="239062" y="1590700"/>
                    </a:cubicBezTo>
                    <a:cubicBezTo>
                      <a:pt x="239062" y="1524373"/>
                      <a:pt x="196973" y="1465914"/>
                      <a:pt x="191362" y="1415325"/>
                    </a:cubicBezTo>
                    <a:cubicBezTo>
                      <a:pt x="185189" y="1355742"/>
                      <a:pt x="221104" y="1307964"/>
                      <a:pt x="239062" y="1247257"/>
                    </a:cubicBezTo>
                    <a:cubicBezTo>
                      <a:pt x="302475" y="1037594"/>
                      <a:pt x="263192" y="708203"/>
                      <a:pt x="263192" y="455820"/>
                    </a:cubicBezTo>
                    <a:cubicBezTo>
                      <a:pt x="190800" y="589038"/>
                      <a:pt x="173404" y="700896"/>
                      <a:pt x="167231" y="863343"/>
                    </a:cubicBezTo>
                    <a:cubicBezTo>
                      <a:pt x="164986" y="938664"/>
                      <a:pt x="163303" y="1022979"/>
                      <a:pt x="135805" y="1087621"/>
                    </a:cubicBezTo>
                    <a:cubicBezTo>
                      <a:pt x="109991" y="1147765"/>
                      <a:pt x="67341" y="1168563"/>
                      <a:pt x="63974" y="1238826"/>
                    </a:cubicBezTo>
                    <a:lnTo>
                      <a:pt x="63974" y="1239388"/>
                    </a:lnTo>
                    <a:cubicBezTo>
                      <a:pt x="54996" y="1280421"/>
                      <a:pt x="38160" y="1301219"/>
                      <a:pt x="0" y="1311337"/>
                    </a:cubicBezTo>
                    <a:cubicBezTo>
                      <a:pt x="32548" y="1257937"/>
                      <a:pt x="19080" y="1189923"/>
                      <a:pt x="31987" y="1111229"/>
                    </a:cubicBezTo>
                    <a:cubicBezTo>
                      <a:pt x="44333" y="1033097"/>
                      <a:pt x="80249" y="1007240"/>
                      <a:pt x="103818" y="951592"/>
                    </a:cubicBezTo>
                    <a:cubicBezTo>
                      <a:pt x="139733" y="866153"/>
                      <a:pt x="134683" y="714948"/>
                      <a:pt x="159375" y="591848"/>
                    </a:cubicBezTo>
                    <a:cubicBezTo>
                      <a:pt x="185189" y="463127"/>
                      <a:pt x="227277" y="337217"/>
                      <a:pt x="319310" y="296184"/>
                    </a:cubicBezTo>
                    <a:cubicBezTo>
                      <a:pt x="404749" y="257820"/>
                      <a:pt x="515441" y="259928"/>
                      <a:pt x="622030" y="269308"/>
                    </a:cubicBezTo>
                    <a:lnTo>
                      <a:pt x="724248" y="279689"/>
                    </a:lnTo>
                    <a:lnTo>
                      <a:pt x="753767" y="319009"/>
                    </a:lnTo>
                    <a:cubicBezTo>
                      <a:pt x="821524" y="395858"/>
                      <a:pt x="921104" y="464265"/>
                      <a:pt x="1010292" y="501499"/>
                    </a:cubicBezTo>
                    <a:cubicBezTo>
                      <a:pt x="1188669" y="575967"/>
                      <a:pt x="1593914" y="619263"/>
                      <a:pt x="1758437" y="532672"/>
                    </a:cubicBezTo>
                    <a:cubicBezTo>
                      <a:pt x="1840699" y="489377"/>
                      <a:pt x="1912569" y="388498"/>
                      <a:pt x="1957813" y="280043"/>
                    </a:cubicBezTo>
                    <a:lnTo>
                      <a:pt x="1973660" y="234754"/>
                    </a:lnTo>
                    <a:lnTo>
                      <a:pt x="2058960" y="239974"/>
                    </a:lnTo>
                    <a:cubicBezTo>
                      <a:pt x="2141454" y="242784"/>
                      <a:pt x="2230120" y="252902"/>
                      <a:pt x="2250322" y="192195"/>
                    </a:cubicBezTo>
                    <a:cubicBezTo>
                      <a:pt x="2274453" y="119684"/>
                      <a:pt x="2188031" y="72468"/>
                      <a:pt x="2282309" y="72468"/>
                    </a:cubicBezTo>
                    <a:cubicBezTo>
                      <a:pt x="2309807" y="72468"/>
                      <a:pt x="2338427" y="115187"/>
                      <a:pt x="2354140" y="112377"/>
                    </a:cubicBezTo>
                    <a:cubicBezTo>
                      <a:pt x="2409135" y="101135"/>
                      <a:pt x="2373220" y="71906"/>
                      <a:pt x="2401840" y="40428"/>
                    </a:cubicBezTo>
                    <a:cubicBezTo>
                      <a:pt x="2432424" y="7264"/>
                      <a:pt x="2455292" y="-1027"/>
                      <a:pt x="2480054" y="97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81" name="Group 80">
                <a:extLst>
                  <a:ext uri="{FF2B5EF4-FFF2-40B4-BE49-F238E27FC236}">
                    <a16:creationId xmlns:a16="http://schemas.microsoft.com/office/drawing/2014/main" id="{0863179D-0087-471B-90F1-F0D00C97182B}"/>
                  </a:ext>
                </a:extLst>
              </p:cNvPr>
              <p:cNvGrpSpPr/>
              <p:nvPr/>
            </p:nvGrpSpPr>
            <p:grpSpPr>
              <a:xfrm>
                <a:off x="4628031" y="2253781"/>
                <a:ext cx="120787" cy="70163"/>
                <a:chOff x="3880384" y="5576888"/>
                <a:chExt cx="393660" cy="195262"/>
              </a:xfrm>
            </p:grpSpPr>
            <p:sp>
              <p:nvSpPr>
                <p:cNvPr id="90" name="Oval 89">
                  <a:extLst>
                    <a:ext uri="{FF2B5EF4-FFF2-40B4-BE49-F238E27FC236}">
                      <a16:creationId xmlns:a16="http://schemas.microsoft.com/office/drawing/2014/main" id="{81C77C3F-8616-4DE7-9888-526C16C0B988}"/>
                    </a:ext>
                  </a:extLst>
                </p:cNvPr>
                <p:cNvSpPr/>
                <p:nvPr/>
              </p:nvSpPr>
              <p:spPr>
                <a:xfrm>
                  <a:off x="3880384" y="5576888"/>
                  <a:ext cx="393660" cy="195262"/>
                </a:xfrm>
                <a:prstGeom prst="ellipse">
                  <a:avLst/>
                </a:prstGeom>
                <a:solidFill>
                  <a:schemeClr val="tx1">
                    <a:lumMod val="95000"/>
                    <a:lumOff val="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91" name="Oval 90">
                  <a:extLst>
                    <a:ext uri="{FF2B5EF4-FFF2-40B4-BE49-F238E27FC236}">
                      <a16:creationId xmlns:a16="http://schemas.microsoft.com/office/drawing/2014/main" id="{39AA8627-CF73-487B-985E-65BA60AADB35}"/>
                    </a:ext>
                  </a:extLst>
                </p:cNvPr>
                <p:cNvSpPr/>
                <p:nvPr/>
              </p:nvSpPr>
              <p:spPr>
                <a:xfrm>
                  <a:off x="4159741" y="5641181"/>
                  <a:ext cx="66975" cy="66675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D6ECEC92-21F6-4709-A4A6-BE43A0AFC545}"/>
                  </a:ext>
                </a:extLst>
              </p:cNvPr>
              <p:cNvSpPr/>
              <p:nvPr/>
            </p:nvSpPr>
            <p:spPr>
              <a:xfrm>
                <a:off x="2914356" y="2231703"/>
                <a:ext cx="1249412" cy="361970"/>
              </a:xfrm>
              <a:custGeom>
                <a:avLst/>
                <a:gdLst>
                  <a:gd name="connsiteX0" fmla="*/ 989378 w 1249412"/>
                  <a:gd name="connsiteY0" fmla="*/ 30 h 361970"/>
                  <a:gd name="connsiteX1" fmla="*/ 1219601 w 1249412"/>
                  <a:gd name="connsiteY1" fmla="*/ 14328 h 361970"/>
                  <a:gd name="connsiteX2" fmla="*/ 1249412 w 1249412"/>
                  <a:gd name="connsiteY2" fmla="*/ 16152 h 361970"/>
                  <a:gd name="connsiteX3" fmla="*/ 1233565 w 1249412"/>
                  <a:gd name="connsiteY3" fmla="*/ 61441 h 361970"/>
                  <a:gd name="connsiteX4" fmla="*/ 1034189 w 1249412"/>
                  <a:gd name="connsiteY4" fmla="*/ 314070 h 361970"/>
                  <a:gd name="connsiteX5" fmla="*/ 286044 w 1249412"/>
                  <a:gd name="connsiteY5" fmla="*/ 282897 h 361970"/>
                  <a:gd name="connsiteX6" fmla="*/ 29519 w 1249412"/>
                  <a:gd name="connsiteY6" fmla="*/ 100407 h 361970"/>
                  <a:gd name="connsiteX7" fmla="*/ 0 w 1249412"/>
                  <a:gd name="connsiteY7" fmla="*/ 61087 h 361970"/>
                  <a:gd name="connsiteX8" fmla="*/ 1916 w 1249412"/>
                  <a:gd name="connsiteY8" fmla="*/ 61281 h 361970"/>
                  <a:gd name="connsiteX9" fmla="*/ 871741 w 1249412"/>
                  <a:gd name="connsiteY9" fmla="*/ 5633 h 361970"/>
                  <a:gd name="connsiteX10" fmla="*/ 989378 w 1249412"/>
                  <a:gd name="connsiteY10" fmla="*/ 30 h 3619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49412" h="361970">
                    <a:moveTo>
                      <a:pt x="989378" y="30"/>
                    </a:moveTo>
                    <a:cubicBezTo>
                      <a:pt x="1066961" y="557"/>
                      <a:pt x="1143141" y="8180"/>
                      <a:pt x="1219601" y="14328"/>
                    </a:cubicBezTo>
                    <a:lnTo>
                      <a:pt x="1249412" y="16152"/>
                    </a:lnTo>
                    <a:lnTo>
                      <a:pt x="1233565" y="61441"/>
                    </a:lnTo>
                    <a:cubicBezTo>
                      <a:pt x="1188321" y="169896"/>
                      <a:pt x="1116451" y="270775"/>
                      <a:pt x="1034189" y="314070"/>
                    </a:cubicBezTo>
                    <a:cubicBezTo>
                      <a:pt x="869666" y="400661"/>
                      <a:pt x="464421" y="357365"/>
                      <a:pt x="286044" y="282897"/>
                    </a:cubicBezTo>
                    <a:cubicBezTo>
                      <a:pt x="196856" y="245663"/>
                      <a:pt x="97276" y="177256"/>
                      <a:pt x="29519" y="100407"/>
                    </a:cubicBezTo>
                    <a:lnTo>
                      <a:pt x="0" y="61087"/>
                    </a:lnTo>
                    <a:lnTo>
                      <a:pt x="1916" y="61281"/>
                    </a:lnTo>
                    <a:cubicBezTo>
                      <a:pt x="303829" y="93882"/>
                      <a:pt x="584979" y="36548"/>
                      <a:pt x="871741" y="5633"/>
                    </a:cubicBezTo>
                    <a:cubicBezTo>
                      <a:pt x="911444" y="1277"/>
                      <a:pt x="950587" y="-234"/>
                      <a:pt x="989378" y="30"/>
                    </a:cubicBez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863DA84F-57BE-4B77-94B0-0BC1ACF4949F}"/>
                  </a:ext>
                </a:extLst>
              </p:cNvPr>
              <p:cNvSpPr/>
              <p:nvPr/>
            </p:nvSpPr>
            <p:spPr>
              <a:xfrm>
                <a:off x="3926935" y="3092590"/>
                <a:ext cx="436027" cy="419921"/>
              </a:xfrm>
              <a:custGeom>
                <a:avLst/>
                <a:gdLst>
                  <a:gd name="connsiteX0" fmla="*/ 320025 w 436027"/>
                  <a:gd name="connsiteY0" fmla="*/ 5 h 419921"/>
                  <a:gd name="connsiteX1" fmla="*/ 429454 w 436027"/>
                  <a:gd name="connsiteY1" fmla="*/ 5201 h 419921"/>
                  <a:gd name="connsiteX2" fmla="*/ 436027 w 436027"/>
                  <a:gd name="connsiteY2" fmla="*/ 6202 h 419921"/>
                  <a:gd name="connsiteX3" fmla="*/ 425108 w 436027"/>
                  <a:gd name="connsiteY3" fmla="*/ 29966 h 419921"/>
                  <a:gd name="connsiteX4" fmla="*/ 393963 w 436027"/>
                  <a:gd name="connsiteY4" fmla="*/ 87950 h 419921"/>
                  <a:gd name="connsiteX5" fmla="*/ 234028 w 436027"/>
                  <a:gd name="connsiteY5" fmla="*/ 207677 h 419921"/>
                  <a:gd name="connsiteX6" fmla="*/ 213896 w 436027"/>
                  <a:gd name="connsiteY6" fmla="*/ 405607 h 419921"/>
                  <a:gd name="connsiteX7" fmla="*/ 216317 w 436027"/>
                  <a:gd name="connsiteY7" fmla="*/ 419921 h 419921"/>
                  <a:gd name="connsiteX8" fmla="*/ 185917 w 436027"/>
                  <a:gd name="connsiteY8" fmla="*/ 405900 h 419921"/>
                  <a:gd name="connsiteX9" fmla="*/ 63174 w 436027"/>
                  <a:gd name="connsiteY9" fmla="*/ 315629 h 419921"/>
                  <a:gd name="connsiteX10" fmla="*/ 11220 w 436027"/>
                  <a:gd name="connsiteY10" fmla="*/ 118202 h 419921"/>
                  <a:gd name="connsiteX11" fmla="*/ 229429 w 436027"/>
                  <a:gd name="connsiteY11" fmla="*/ 3902 h 419921"/>
                  <a:gd name="connsiteX12" fmla="*/ 320025 w 436027"/>
                  <a:gd name="connsiteY12" fmla="*/ 5 h 4199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36027" h="419921">
                    <a:moveTo>
                      <a:pt x="320025" y="5"/>
                    </a:moveTo>
                    <a:cubicBezTo>
                      <a:pt x="355202" y="-103"/>
                      <a:pt x="393519" y="1304"/>
                      <a:pt x="429454" y="5201"/>
                    </a:cubicBezTo>
                    <a:lnTo>
                      <a:pt x="436027" y="6202"/>
                    </a:lnTo>
                    <a:lnTo>
                      <a:pt x="425108" y="29966"/>
                    </a:lnTo>
                    <a:cubicBezTo>
                      <a:pt x="414657" y="51414"/>
                      <a:pt x="404205" y="71228"/>
                      <a:pt x="393963" y="87950"/>
                    </a:cubicBezTo>
                    <a:cubicBezTo>
                      <a:pt x="354120" y="152029"/>
                      <a:pt x="267137" y="156526"/>
                      <a:pt x="234028" y="207677"/>
                    </a:cubicBezTo>
                    <a:cubicBezTo>
                      <a:pt x="207372" y="248992"/>
                      <a:pt x="205268" y="326983"/>
                      <a:pt x="213896" y="405607"/>
                    </a:cubicBezTo>
                    <a:lnTo>
                      <a:pt x="216317" y="419921"/>
                    </a:lnTo>
                    <a:lnTo>
                      <a:pt x="185917" y="405900"/>
                    </a:lnTo>
                    <a:cubicBezTo>
                      <a:pt x="135910" y="379274"/>
                      <a:pt x="90017" y="341607"/>
                      <a:pt x="63174" y="315629"/>
                    </a:cubicBezTo>
                    <a:cubicBezTo>
                      <a:pt x="9488" y="263674"/>
                      <a:pt x="-16489" y="170156"/>
                      <a:pt x="11220" y="118202"/>
                    </a:cubicBezTo>
                    <a:cubicBezTo>
                      <a:pt x="38929" y="66248"/>
                      <a:pt x="135911" y="12561"/>
                      <a:pt x="229429" y="3902"/>
                    </a:cubicBezTo>
                    <a:cubicBezTo>
                      <a:pt x="252809" y="1737"/>
                      <a:pt x="284847" y="114"/>
                      <a:pt x="320025" y="5"/>
                    </a:cubicBez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9A0DF75B-21FA-4EA8-A690-FCA44889A846}"/>
                  </a:ext>
                </a:extLst>
              </p:cNvPr>
              <p:cNvSpPr/>
              <p:nvPr/>
            </p:nvSpPr>
            <p:spPr>
              <a:xfrm>
                <a:off x="2677357" y="2762236"/>
                <a:ext cx="983543" cy="427908"/>
              </a:xfrm>
              <a:custGeom>
                <a:avLst/>
                <a:gdLst>
                  <a:gd name="connsiteX0" fmla="*/ 117798 w 983543"/>
                  <a:gd name="connsiteY0" fmla="*/ 53700 h 427908"/>
                  <a:gd name="connsiteX1" fmla="*/ 3498 w 983543"/>
                  <a:gd name="connsiteY1" fmla="*/ 323864 h 427908"/>
                  <a:gd name="connsiteX2" fmla="*/ 252879 w 983543"/>
                  <a:gd name="connsiteY2" fmla="*/ 427773 h 427908"/>
                  <a:gd name="connsiteX3" fmla="*/ 564607 w 983543"/>
                  <a:gd name="connsiteY3" fmla="*/ 344646 h 427908"/>
                  <a:gd name="connsiteX4" fmla="*/ 793207 w 983543"/>
                  <a:gd name="connsiteY4" fmla="*/ 292691 h 427908"/>
                  <a:gd name="connsiteX5" fmla="*/ 959461 w 983543"/>
                  <a:gd name="connsiteY5" fmla="*/ 261519 h 427908"/>
                  <a:gd name="connsiteX6" fmla="*/ 907507 w 983543"/>
                  <a:gd name="connsiteY6" fmla="*/ 95264 h 427908"/>
                  <a:gd name="connsiteX7" fmla="*/ 273661 w 983543"/>
                  <a:gd name="connsiteY7" fmla="*/ 1746 h 427908"/>
                  <a:gd name="connsiteX8" fmla="*/ 117798 w 983543"/>
                  <a:gd name="connsiteY8" fmla="*/ 53700 h 427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83543" h="427908">
                    <a:moveTo>
                      <a:pt x="117798" y="53700"/>
                    </a:moveTo>
                    <a:cubicBezTo>
                      <a:pt x="72771" y="107386"/>
                      <a:pt x="-19015" y="261519"/>
                      <a:pt x="3498" y="323864"/>
                    </a:cubicBezTo>
                    <a:cubicBezTo>
                      <a:pt x="26011" y="386209"/>
                      <a:pt x="159361" y="424309"/>
                      <a:pt x="252879" y="427773"/>
                    </a:cubicBezTo>
                    <a:cubicBezTo>
                      <a:pt x="346397" y="431237"/>
                      <a:pt x="474552" y="367160"/>
                      <a:pt x="564607" y="344646"/>
                    </a:cubicBezTo>
                    <a:cubicBezTo>
                      <a:pt x="654662" y="322132"/>
                      <a:pt x="727398" y="306546"/>
                      <a:pt x="793207" y="292691"/>
                    </a:cubicBezTo>
                    <a:cubicBezTo>
                      <a:pt x="859016" y="278837"/>
                      <a:pt x="940411" y="294424"/>
                      <a:pt x="959461" y="261519"/>
                    </a:cubicBezTo>
                    <a:cubicBezTo>
                      <a:pt x="978511" y="228615"/>
                      <a:pt x="1021807" y="138559"/>
                      <a:pt x="907507" y="95264"/>
                    </a:cubicBezTo>
                    <a:cubicBezTo>
                      <a:pt x="793207" y="51969"/>
                      <a:pt x="401816" y="6941"/>
                      <a:pt x="273661" y="1746"/>
                    </a:cubicBezTo>
                    <a:cubicBezTo>
                      <a:pt x="145506" y="-3450"/>
                      <a:pt x="162825" y="14"/>
                      <a:pt x="117798" y="53700"/>
                    </a:cubicBez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F1281E33-B520-4E4C-BC84-D7117E03CD1B}"/>
                  </a:ext>
                </a:extLst>
              </p:cNvPr>
              <p:cNvSpPr/>
              <p:nvPr/>
            </p:nvSpPr>
            <p:spPr>
              <a:xfrm>
                <a:off x="4298454" y="2498525"/>
                <a:ext cx="278709" cy="475805"/>
              </a:xfrm>
              <a:custGeom>
                <a:avLst/>
                <a:gdLst>
                  <a:gd name="connsiteX0" fmla="*/ 142541 w 278709"/>
                  <a:gd name="connsiteY0" fmla="*/ 2 h 475805"/>
                  <a:gd name="connsiteX1" fmla="*/ 254497 w 278709"/>
                  <a:gd name="connsiteY1" fmla="*/ 30363 h 475805"/>
                  <a:gd name="connsiteX2" fmla="*/ 272022 w 278709"/>
                  <a:gd name="connsiteY2" fmla="*/ 145444 h 475805"/>
                  <a:gd name="connsiteX3" fmla="*/ 278709 w 278709"/>
                  <a:gd name="connsiteY3" fmla="*/ 164064 h 475805"/>
                  <a:gd name="connsiteX4" fmla="*/ 276526 w 278709"/>
                  <a:gd name="connsiteY4" fmla="*/ 166199 h 475805"/>
                  <a:gd name="connsiteX5" fmla="*/ 141975 w 278709"/>
                  <a:gd name="connsiteY5" fmla="*/ 426258 h 475805"/>
                  <a:gd name="connsiteX6" fmla="*/ 119808 w 278709"/>
                  <a:gd name="connsiteY6" fmla="*/ 475805 h 475805"/>
                  <a:gd name="connsiteX7" fmla="*/ 102097 w 278709"/>
                  <a:gd name="connsiteY7" fmla="*/ 454225 h 475805"/>
                  <a:gd name="connsiteX8" fmla="*/ 11610 w 278709"/>
                  <a:gd name="connsiteY8" fmla="*/ 220863 h 475805"/>
                  <a:gd name="connsiteX9" fmla="*/ 11610 w 278709"/>
                  <a:gd name="connsiteY9" fmla="*/ 54175 h 475805"/>
                  <a:gd name="connsiteX10" fmla="*/ 106860 w 278709"/>
                  <a:gd name="connsiteY10" fmla="*/ 1788 h 475805"/>
                  <a:gd name="connsiteX11" fmla="*/ 142541 w 278709"/>
                  <a:gd name="connsiteY11" fmla="*/ 2 h 4758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78709" h="475805">
                    <a:moveTo>
                      <a:pt x="142541" y="2"/>
                    </a:moveTo>
                    <a:cubicBezTo>
                      <a:pt x="182316" y="-147"/>
                      <a:pt x="230685" y="5956"/>
                      <a:pt x="254497" y="30363"/>
                    </a:cubicBezTo>
                    <a:cubicBezTo>
                      <a:pt x="278310" y="54770"/>
                      <a:pt x="259706" y="96145"/>
                      <a:pt x="272022" y="145444"/>
                    </a:cubicBezTo>
                    <a:lnTo>
                      <a:pt x="278709" y="164064"/>
                    </a:lnTo>
                    <a:lnTo>
                      <a:pt x="276526" y="166199"/>
                    </a:lnTo>
                    <a:cubicBezTo>
                      <a:pt x="220470" y="231070"/>
                      <a:pt x="186589" y="330561"/>
                      <a:pt x="141975" y="426258"/>
                    </a:cubicBezTo>
                    <a:lnTo>
                      <a:pt x="119808" y="475805"/>
                    </a:lnTo>
                    <a:lnTo>
                      <a:pt x="102097" y="454225"/>
                    </a:lnTo>
                    <a:cubicBezTo>
                      <a:pt x="53678" y="391519"/>
                      <a:pt x="26691" y="287538"/>
                      <a:pt x="11610" y="220863"/>
                    </a:cubicBezTo>
                    <a:cubicBezTo>
                      <a:pt x="-3471" y="154188"/>
                      <a:pt x="-4265" y="90687"/>
                      <a:pt x="11610" y="54175"/>
                    </a:cubicBezTo>
                    <a:cubicBezTo>
                      <a:pt x="27485" y="17662"/>
                      <a:pt x="66379" y="5757"/>
                      <a:pt x="106860" y="1788"/>
                    </a:cubicBezTo>
                    <a:cubicBezTo>
                      <a:pt x="116980" y="796"/>
                      <a:pt x="129284" y="52"/>
                      <a:pt x="142541" y="2"/>
                    </a:cubicBez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FF540E1D-7D3C-4EC9-A4AE-65FBA8DE164A}"/>
                  </a:ext>
                </a:extLst>
              </p:cNvPr>
              <p:cNvSpPr/>
              <p:nvPr/>
            </p:nvSpPr>
            <p:spPr>
              <a:xfrm>
                <a:off x="2788465" y="3802381"/>
                <a:ext cx="175505" cy="97085"/>
              </a:xfrm>
              <a:custGeom>
                <a:avLst/>
                <a:gdLst>
                  <a:gd name="connsiteX0" fmla="*/ 15695 w 175505"/>
                  <a:gd name="connsiteY0" fmla="*/ 0 h 97085"/>
                  <a:gd name="connsiteX1" fmla="*/ 137615 w 175505"/>
                  <a:gd name="connsiteY1" fmla="*/ 15716 h 97085"/>
                  <a:gd name="connsiteX2" fmla="*/ 151571 w 175505"/>
                  <a:gd name="connsiteY2" fmla="*/ 18087 h 97085"/>
                  <a:gd name="connsiteX3" fmla="*/ 175505 w 175505"/>
                  <a:gd name="connsiteY3" fmla="*/ 97085 h 97085"/>
                  <a:gd name="connsiteX4" fmla="*/ 5047 w 175505"/>
                  <a:gd name="connsiteY4" fmla="*/ 14175 h 97085"/>
                  <a:gd name="connsiteX5" fmla="*/ 0 w 175505"/>
                  <a:gd name="connsiteY5" fmla="*/ 1162 h 97085"/>
                  <a:gd name="connsiteX6" fmla="*/ 15695 w 175505"/>
                  <a:gd name="connsiteY6" fmla="*/ 0 h 970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5505" h="97085">
                    <a:moveTo>
                      <a:pt x="15695" y="0"/>
                    </a:moveTo>
                    <a:cubicBezTo>
                      <a:pt x="41095" y="635"/>
                      <a:pt x="92530" y="8255"/>
                      <a:pt x="137615" y="15716"/>
                    </a:cubicBezTo>
                    <a:lnTo>
                      <a:pt x="151571" y="18087"/>
                    </a:lnTo>
                    <a:lnTo>
                      <a:pt x="175505" y="97085"/>
                    </a:lnTo>
                    <a:cubicBezTo>
                      <a:pt x="78983" y="97085"/>
                      <a:pt x="31563" y="65748"/>
                      <a:pt x="5047" y="14175"/>
                    </a:cubicBezTo>
                    <a:lnTo>
                      <a:pt x="0" y="1162"/>
                    </a:lnTo>
                    <a:lnTo>
                      <a:pt x="15695" y="0"/>
                    </a:ln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67D96A1B-4E91-464F-8079-8F25E24C8388}"/>
                  </a:ext>
                </a:extLst>
              </p:cNvPr>
              <p:cNvSpPr/>
              <p:nvPr/>
            </p:nvSpPr>
            <p:spPr>
              <a:xfrm>
                <a:off x="4114631" y="3807620"/>
                <a:ext cx="158005" cy="100357"/>
              </a:xfrm>
              <a:custGeom>
                <a:avLst/>
                <a:gdLst>
                  <a:gd name="connsiteX0" fmla="*/ 76369 w 158005"/>
                  <a:gd name="connsiteY0" fmla="*/ 0 h 100357"/>
                  <a:gd name="connsiteX1" fmla="*/ 125188 w 158005"/>
                  <a:gd name="connsiteY1" fmla="*/ 1632 h 100357"/>
                  <a:gd name="connsiteX2" fmla="*/ 143379 w 158005"/>
                  <a:gd name="connsiteY2" fmla="*/ 40748 h 100357"/>
                  <a:gd name="connsiteX3" fmla="*/ 158005 w 158005"/>
                  <a:gd name="connsiteY3" fmla="*/ 100278 h 100357"/>
                  <a:gd name="connsiteX4" fmla="*/ 5202 w 158005"/>
                  <a:gd name="connsiteY4" fmla="*/ 32550 h 100357"/>
                  <a:gd name="connsiteX5" fmla="*/ 0 w 158005"/>
                  <a:gd name="connsiteY5" fmla="*/ 3845 h 100357"/>
                  <a:gd name="connsiteX6" fmla="*/ 76369 w 158005"/>
                  <a:gd name="connsiteY6" fmla="*/ 0 h 1003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8005" h="100357">
                    <a:moveTo>
                      <a:pt x="76369" y="0"/>
                    </a:moveTo>
                    <a:lnTo>
                      <a:pt x="125188" y="1632"/>
                    </a:lnTo>
                    <a:lnTo>
                      <a:pt x="143379" y="40748"/>
                    </a:lnTo>
                    <a:cubicBezTo>
                      <a:pt x="149903" y="58402"/>
                      <a:pt x="155059" y="77794"/>
                      <a:pt x="158005" y="100278"/>
                    </a:cubicBezTo>
                    <a:cubicBezTo>
                      <a:pt x="38685" y="100278"/>
                      <a:pt x="20332" y="105442"/>
                      <a:pt x="5202" y="32550"/>
                    </a:cubicBezTo>
                    <a:lnTo>
                      <a:pt x="0" y="3845"/>
                    </a:lnTo>
                    <a:lnTo>
                      <a:pt x="76369" y="0"/>
                    </a:ln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6C2291D4-5E65-487B-93FA-D5FA680534F2}"/>
                  </a:ext>
                </a:extLst>
              </p:cNvPr>
              <p:cNvSpPr/>
              <p:nvPr/>
            </p:nvSpPr>
            <p:spPr>
              <a:xfrm>
                <a:off x="3887583" y="3821184"/>
                <a:ext cx="169561" cy="95207"/>
              </a:xfrm>
              <a:custGeom>
                <a:avLst/>
                <a:gdLst>
                  <a:gd name="connsiteX0" fmla="*/ 131215 w 169561"/>
                  <a:gd name="connsiteY0" fmla="*/ 0 h 95207"/>
                  <a:gd name="connsiteX1" fmla="*/ 148867 w 169561"/>
                  <a:gd name="connsiteY1" fmla="*/ 35843 h 95207"/>
                  <a:gd name="connsiteX2" fmla="*/ 169561 w 169561"/>
                  <a:gd name="connsiteY2" fmla="*/ 86714 h 95207"/>
                  <a:gd name="connsiteX3" fmla="*/ 2330 w 169561"/>
                  <a:gd name="connsiteY3" fmla="*/ 86714 h 95207"/>
                  <a:gd name="connsiteX4" fmla="*/ 4303 w 169561"/>
                  <a:gd name="connsiteY4" fmla="*/ 47665 h 95207"/>
                  <a:gd name="connsiteX5" fmla="*/ 3267 w 169561"/>
                  <a:gd name="connsiteY5" fmla="*/ 42784 h 95207"/>
                  <a:gd name="connsiteX6" fmla="*/ 6237 w 169561"/>
                  <a:gd name="connsiteY6" fmla="*/ 42157 h 95207"/>
                  <a:gd name="connsiteX7" fmla="*/ 105357 w 169561"/>
                  <a:gd name="connsiteY7" fmla="*/ 4652 h 95207"/>
                  <a:gd name="connsiteX8" fmla="*/ 131215 w 169561"/>
                  <a:gd name="connsiteY8" fmla="*/ 0 h 95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9561" h="95207">
                    <a:moveTo>
                      <a:pt x="131215" y="0"/>
                    </a:moveTo>
                    <a:lnTo>
                      <a:pt x="148867" y="35843"/>
                    </a:lnTo>
                    <a:cubicBezTo>
                      <a:pt x="155917" y="50634"/>
                      <a:pt x="162967" y="66900"/>
                      <a:pt x="169561" y="86714"/>
                    </a:cubicBezTo>
                    <a:cubicBezTo>
                      <a:pt x="135890" y="86714"/>
                      <a:pt x="27022" y="105825"/>
                      <a:pt x="2330" y="86714"/>
                    </a:cubicBezTo>
                    <a:cubicBezTo>
                      <a:pt x="-3563" y="82076"/>
                      <a:pt x="3487" y="60681"/>
                      <a:pt x="4303" y="47665"/>
                    </a:cubicBezTo>
                    <a:lnTo>
                      <a:pt x="3267" y="42784"/>
                    </a:lnTo>
                    <a:lnTo>
                      <a:pt x="6237" y="42157"/>
                    </a:lnTo>
                    <a:cubicBezTo>
                      <a:pt x="46242" y="33585"/>
                      <a:pt x="66959" y="15725"/>
                      <a:pt x="105357" y="4652"/>
                    </a:cubicBezTo>
                    <a:lnTo>
                      <a:pt x="131215" y="0"/>
                    </a:ln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AB557426-6918-434F-8779-EC95BEB061E8}"/>
                  </a:ext>
                </a:extLst>
              </p:cNvPr>
              <p:cNvSpPr/>
              <p:nvPr/>
            </p:nvSpPr>
            <p:spPr>
              <a:xfrm>
                <a:off x="2470780" y="3825717"/>
                <a:ext cx="159017" cy="103943"/>
              </a:xfrm>
              <a:custGeom>
                <a:avLst/>
                <a:gdLst>
                  <a:gd name="connsiteX0" fmla="*/ 10483 w 159017"/>
                  <a:gd name="connsiteY0" fmla="*/ 0 h 103943"/>
                  <a:gd name="connsiteX1" fmla="*/ 97160 w 159017"/>
                  <a:gd name="connsiteY1" fmla="*/ 7144 h 103943"/>
                  <a:gd name="connsiteX2" fmla="*/ 124570 w 159017"/>
                  <a:gd name="connsiteY2" fmla="*/ 6090 h 103943"/>
                  <a:gd name="connsiteX3" fmla="*/ 126180 w 159017"/>
                  <a:gd name="connsiteY3" fmla="*/ 10232 h 103943"/>
                  <a:gd name="connsiteX4" fmla="*/ 158167 w 159017"/>
                  <a:gd name="connsiteY4" fmla="*/ 73749 h 103943"/>
                  <a:gd name="connsiteX5" fmla="*/ 6649 w 159017"/>
                  <a:gd name="connsiteY5" fmla="*/ 82181 h 103943"/>
                  <a:gd name="connsiteX6" fmla="*/ 6649 w 159017"/>
                  <a:gd name="connsiteY6" fmla="*/ 1800 h 103943"/>
                  <a:gd name="connsiteX7" fmla="*/ 5073 w 159017"/>
                  <a:gd name="connsiteY7" fmla="*/ 105 h 103943"/>
                  <a:gd name="connsiteX8" fmla="*/ 10483 w 159017"/>
                  <a:gd name="connsiteY8" fmla="*/ 0 h 103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9017" h="103943">
                    <a:moveTo>
                      <a:pt x="10483" y="0"/>
                    </a:moveTo>
                    <a:cubicBezTo>
                      <a:pt x="55250" y="1747"/>
                      <a:pt x="97160" y="7144"/>
                      <a:pt x="97160" y="7144"/>
                    </a:cubicBezTo>
                    <a:lnTo>
                      <a:pt x="124570" y="6090"/>
                    </a:lnTo>
                    <a:lnTo>
                      <a:pt x="126180" y="10232"/>
                    </a:lnTo>
                    <a:cubicBezTo>
                      <a:pt x="129547" y="18663"/>
                      <a:pt x="164901" y="60821"/>
                      <a:pt x="158167" y="73749"/>
                    </a:cubicBezTo>
                    <a:cubicBezTo>
                      <a:pt x="137403" y="113658"/>
                      <a:pt x="35830" y="111410"/>
                      <a:pt x="6649" y="82181"/>
                    </a:cubicBezTo>
                    <a:cubicBezTo>
                      <a:pt x="-9625" y="65880"/>
                      <a:pt x="9455" y="7983"/>
                      <a:pt x="6649" y="1800"/>
                    </a:cubicBezTo>
                    <a:lnTo>
                      <a:pt x="5073" y="105"/>
                    </a:lnTo>
                    <a:lnTo>
                      <a:pt x="10483" y="0"/>
                    </a:ln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795904A3-3F81-46D6-BFEE-0ABBDFA92390}"/>
              </a:ext>
            </a:extLst>
          </p:cNvPr>
          <p:cNvGrpSpPr/>
          <p:nvPr/>
        </p:nvGrpSpPr>
        <p:grpSpPr>
          <a:xfrm flipH="1">
            <a:off x="7564789" y="5756371"/>
            <a:ext cx="628435" cy="443509"/>
            <a:chOff x="2102523" y="2013100"/>
            <a:chExt cx="2983284" cy="2105412"/>
          </a:xfrm>
        </p:grpSpPr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A107925C-6813-4BFD-BE55-007E611121F5}"/>
                </a:ext>
              </a:extLst>
            </p:cNvPr>
            <p:cNvSpPr/>
            <p:nvPr/>
          </p:nvSpPr>
          <p:spPr>
            <a:xfrm>
              <a:off x="2102523" y="3609421"/>
              <a:ext cx="2717042" cy="509091"/>
            </a:xfrm>
            <a:prstGeom prst="ellipse">
              <a:avLst/>
            </a:prstGeom>
            <a:solidFill>
              <a:schemeClr val="tx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F48961FF-720D-4771-BA1F-1C2CBE694DA7}"/>
                </a:ext>
              </a:extLst>
            </p:cNvPr>
            <p:cNvGrpSpPr/>
            <p:nvPr/>
          </p:nvGrpSpPr>
          <p:grpSpPr>
            <a:xfrm>
              <a:off x="2190105" y="2013100"/>
              <a:ext cx="2895702" cy="1916560"/>
              <a:chOff x="2190105" y="2013100"/>
              <a:chExt cx="2895702" cy="1916560"/>
            </a:xfrm>
          </p:grpSpPr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E494E06A-F6C5-492D-8E9F-23D245CDE5E5}"/>
                  </a:ext>
                </a:extLst>
              </p:cNvPr>
              <p:cNvSpPr/>
              <p:nvPr/>
            </p:nvSpPr>
            <p:spPr>
              <a:xfrm>
                <a:off x="2190105" y="2013100"/>
                <a:ext cx="2895702" cy="1850867"/>
              </a:xfrm>
              <a:custGeom>
                <a:avLst/>
                <a:gdLst>
                  <a:gd name="connsiteX0" fmla="*/ 2480054 w 2895702"/>
                  <a:gd name="connsiteY0" fmla="*/ 97 h 1850867"/>
                  <a:gd name="connsiteX1" fmla="*/ 2569632 w 2895702"/>
                  <a:gd name="connsiteY1" fmla="*/ 16258 h 1850867"/>
                  <a:gd name="connsiteX2" fmla="*/ 2729006 w 2895702"/>
                  <a:gd name="connsiteY2" fmla="*/ 64036 h 1850867"/>
                  <a:gd name="connsiteX3" fmla="*/ 2481527 w 2895702"/>
                  <a:gd name="connsiteY3" fmla="*/ 112377 h 1850867"/>
                  <a:gd name="connsiteX4" fmla="*/ 2736863 w 2895702"/>
                  <a:gd name="connsiteY4" fmla="*/ 296184 h 1850867"/>
                  <a:gd name="connsiteX5" fmla="*/ 2832824 w 2895702"/>
                  <a:gd name="connsiteY5" fmla="*/ 535638 h 1850867"/>
                  <a:gd name="connsiteX6" fmla="*/ 2449540 w 2895702"/>
                  <a:gd name="connsiteY6" fmla="*/ 599718 h 1850867"/>
                  <a:gd name="connsiteX7" fmla="*/ 2414902 w 2895702"/>
                  <a:gd name="connsiteY7" fmla="*/ 622253 h 1850867"/>
                  <a:gd name="connsiteX8" fmla="*/ 2387056 w 2895702"/>
                  <a:gd name="connsiteY8" fmla="*/ 649489 h 1850867"/>
                  <a:gd name="connsiteX9" fmla="*/ 2380369 w 2895702"/>
                  <a:gd name="connsiteY9" fmla="*/ 630869 h 1850867"/>
                  <a:gd name="connsiteX10" fmla="*/ 2362844 w 2895702"/>
                  <a:gd name="connsiteY10" fmla="*/ 515788 h 1850867"/>
                  <a:gd name="connsiteX11" fmla="*/ 2215207 w 2895702"/>
                  <a:gd name="connsiteY11" fmla="*/ 487213 h 1850867"/>
                  <a:gd name="connsiteX12" fmla="*/ 2119957 w 2895702"/>
                  <a:gd name="connsiteY12" fmla="*/ 539600 h 1850867"/>
                  <a:gd name="connsiteX13" fmla="*/ 2119957 w 2895702"/>
                  <a:gd name="connsiteY13" fmla="*/ 706288 h 1850867"/>
                  <a:gd name="connsiteX14" fmla="*/ 2210444 w 2895702"/>
                  <a:gd name="connsiteY14" fmla="*/ 939650 h 1850867"/>
                  <a:gd name="connsiteX15" fmla="*/ 2228155 w 2895702"/>
                  <a:gd name="connsiteY15" fmla="*/ 961230 h 1850867"/>
                  <a:gd name="connsiteX16" fmla="*/ 2222965 w 2895702"/>
                  <a:gd name="connsiteY16" fmla="*/ 972829 h 1850867"/>
                  <a:gd name="connsiteX17" fmla="*/ 2193082 w 2895702"/>
                  <a:gd name="connsiteY17" fmla="*/ 1041669 h 1850867"/>
                  <a:gd name="connsiteX18" fmla="*/ 2172855 w 2895702"/>
                  <a:gd name="connsiteY18" fmla="*/ 1085691 h 1850867"/>
                  <a:gd name="connsiteX19" fmla="*/ 2166282 w 2895702"/>
                  <a:gd name="connsiteY19" fmla="*/ 1084690 h 1850867"/>
                  <a:gd name="connsiteX20" fmla="*/ 1966257 w 2895702"/>
                  <a:gd name="connsiteY20" fmla="*/ 1083391 h 1850867"/>
                  <a:gd name="connsiteX21" fmla="*/ 1748048 w 2895702"/>
                  <a:gd name="connsiteY21" fmla="*/ 1197691 h 1850867"/>
                  <a:gd name="connsiteX22" fmla="*/ 1800002 w 2895702"/>
                  <a:gd name="connsiteY22" fmla="*/ 1395118 h 1850867"/>
                  <a:gd name="connsiteX23" fmla="*/ 1922745 w 2895702"/>
                  <a:gd name="connsiteY23" fmla="*/ 1485389 h 1850867"/>
                  <a:gd name="connsiteX24" fmla="*/ 1953145 w 2895702"/>
                  <a:gd name="connsiteY24" fmla="*/ 1499410 h 1850867"/>
                  <a:gd name="connsiteX25" fmla="*/ 1969988 w 2895702"/>
                  <a:gd name="connsiteY25" fmla="*/ 1599000 h 1850867"/>
                  <a:gd name="connsiteX26" fmla="*/ 1994986 w 2895702"/>
                  <a:gd name="connsiteY26" fmla="*/ 1686820 h 1850867"/>
                  <a:gd name="connsiteX27" fmla="*/ 2045071 w 2895702"/>
                  <a:gd name="connsiteY27" fmla="*/ 1786171 h 1850867"/>
                  <a:gd name="connsiteX28" fmla="*/ 2049713 w 2895702"/>
                  <a:gd name="connsiteY28" fmla="*/ 1796151 h 1850867"/>
                  <a:gd name="connsiteX29" fmla="*/ 2000894 w 2895702"/>
                  <a:gd name="connsiteY29" fmla="*/ 1794519 h 1850867"/>
                  <a:gd name="connsiteX30" fmla="*/ 1924525 w 2895702"/>
                  <a:gd name="connsiteY30" fmla="*/ 1798364 h 1850867"/>
                  <a:gd name="connsiteX31" fmla="*/ 1923155 w 2895702"/>
                  <a:gd name="connsiteY31" fmla="*/ 1790808 h 1850867"/>
                  <a:gd name="connsiteX32" fmla="*/ 1867038 w 2895702"/>
                  <a:gd name="connsiteY32" fmla="*/ 1614871 h 1850867"/>
                  <a:gd name="connsiteX33" fmla="*/ 1795207 w 2895702"/>
                  <a:gd name="connsiteY33" fmla="*/ 1423195 h 1850867"/>
                  <a:gd name="connsiteX34" fmla="*/ 1795207 w 2895702"/>
                  <a:gd name="connsiteY34" fmla="*/ 1694689 h 1850867"/>
                  <a:gd name="connsiteX35" fmla="*/ 1825651 w 2895702"/>
                  <a:gd name="connsiteY35" fmla="*/ 1801909 h 1850867"/>
                  <a:gd name="connsiteX36" fmla="*/ 1828692 w 2895702"/>
                  <a:gd name="connsiteY36" fmla="*/ 1808083 h 1850867"/>
                  <a:gd name="connsiteX37" fmla="*/ 1802834 w 2895702"/>
                  <a:gd name="connsiteY37" fmla="*/ 1812735 h 1850867"/>
                  <a:gd name="connsiteX38" fmla="*/ 1703714 w 2895702"/>
                  <a:gd name="connsiteY38" fmla="*/ 1850240 h 1850867"/>
                  <a:gd name="connsiteX39" fmla="*/ 1700744 w 2895702"/>
                  <a:gd name="connsiteY39" fmla="*/ 1850867 h 1850867"/>
                  <a:gd name="connsiteX40" fmla="*/ 1699807 w 2895702"/>
                  <a:gd name="connsiteY40" fmla="*/ 1846456 h 1850867"/>
                  <a:gd name="connsiteX41" fmla="*/ 1659963 w 2895702"/>
                  <a:gd name="connsiteY41" fmla="*/ 1798677 h 1850867"/>
                  <a:gd name="connsiteX42" fmla="*/ 1643689 w 2895702"/>
                  <a:gd name="connsiteY42" fmla="*/ 1542922 h 1850867"/>
                  <a:gd name="connsiteX43" fmla="*/ 1516302 w 2895702"/>
                  <a:gd name="connsiteY43" fmla="*/ 1255127 h 1850867"/>
                  <a:gd name="connsiteX44" fmla="*/ 1053330 w 2895702"/>
                  <a:gd name="connsiteY44" fmla="*/ 1262996 h 1850867"/>
                  <a:gd name="connsiteX45" fmla="*/ 901812 w 2895702"/>
                  <a:gd name="connsiteY45" fmla="*/ 1302905 h 1850867"/>
                  <a:gd name="connsiteX46" fmla="*/ 845695 w 2895702"/>
                  <a:gd name="connsiteY46" fmla="*/ 1359115 h 1850867"/>
                  <a:gd name="connsiteX47" fmla="*/ 790138 w 2895702"/>
                  <a:gd name="connsiteY47" fmla="*/ 1366984 h 1850867"/>
                  <a:gd name="connsiteX48" fmla="*/ 726164 w 2895702"/>
                  <a:gd name="connsiteY48" fmla="*/ 1383285 h 1850867"/>
                  <a:gd name="connsiteX49" fmla="*/ 662190 w 2895702"/>
                  <a:gd name="connsiteY49" fmla="*/ 1351246 h 1850867"/>
                  <a:gd name="connsiteX50" fmla="*/ 638059 w 2895702"/>
                  <a:gd name="connsiteY50" fmla="*/ 1527183 h 1850867"/>
                  <a:gd name="connsiteX51" fmla="*/ 747042 w 2895702"/>
                  <a:gd name="connsiteY51" fmla="*/ 1797834 h 1850867"/>
                  <a:gd name="connsiteX52" fmla="*/ 749930 w 2895702"/>
                  <a:gd name="connsiteY52" fmla="*/ 1807367 h 1850867"/>
                  <a:gd name="connsiteX53" fmla="*/ 735974 w 2895702"/>
                  <a:gd name="connsiteY53" fmla="*/ 1804996 h 1850867"/>
                  <a:gd name="connsiteX54" fmla="*/ 614054 w 2895702"/>
                  <a:gd name="connsiteY54" fmla="*/ 1789280 h 1850867"/>
                  <a:gd name="connsiteX55" fmla="*/ 598359 w 2895702"/>
                  <a:gd name="connsiteY55" fmla="*/ 1790442 h 1850867"/>
                  <a:gd name="connsiteX56" fmla="*/ 586999 w 2895702"/>
                  <a:gd name="connsiteY56" fmla="*/ 1761155 h 1850867"/>
                  <a:gd name="connsiteX57" fmla="*/ 558372 w 2895702"/>
                  <a:gd name="connsiteY57" fmla="*/ 1599132 h 1850867"/>
                  <a:gd name="connsiteX58" fmla="*/ 423128 w 2895702"/>
                  <a:gd name="connsiteY58" fmla="*/ 1295036 h 1850867"/>
                  <a:gd name="connsiteX59" fmla="*/ 359154 w 2895702"/>
                  <a:gd name="connsiteY59" fmla="*/ 1671081 h 1850867"/>
                  <a:gd name="connsiteX60" fmla="*/ 378585 w 2895702"/>
                  <a:gd name="connsiteY60" fmla="*/ 1750126 h 1850867"/>
                  <a:gd name="connsiteX61" fmla="*/ 405244 w 2895702"/>
                  <a:gd name="connsiteY61" fmla="*/ 1818706 h 1850867"/>
                  <a:gd name="connsiteX62" fmla="*/ 377834 w 2895702"/>
                  <a:gd name="connsiteY62" fmla="*/ 1819760 h 1850867"/>
                  <a:gd name="connsiteX63" fmla="*/ 291157 w 2895702"/>
                  <a:gd name="connsiteY63" fmla="*/ 1812616 h 1850867"/>
                  <a:gd name="connsiteX64" fmla="*/ 285747 w 2895702"/>
                  <a:gd name="connsiteY64" fmla="*/ 1812721 h 1850867"/>
                  <a:gd name="connsiteX65" fmla="*/ 274057 w 2895702"/>
                  <a:gd name="connsiteY65" fmla="*/ 1800153 h 1850867"/>
                  <a:gd name="connsiteX66" fmla="*/ 231205 w 2895702"/>
                  <a:gd name="connsiteY66" fmla="*/ 1766638 h 1850867"/>
                  <a:gd name="connsiteX67" fmla="*/ 239062 w 2895702"/>
                  <a:gd name="connsiteY67" fmla="*/ 1590700 h 1850867"/>
                  <a:gd name="connsiteX68" fmla="*/ 191362 w 2895702"/>
                  <a:gd name="connsiteY68" fmla="*/ 1415325 h 1850867"/>
                  <a:gd name="connsiteX69" fmla="*/ 239062 w 2895702"/>
                  <a:gd name="connsiteY69" fmla="*/ 1247257 h 1850867"/>
                  <a:gd name="connsiteX70" fmla="*/ 263192 w 2895702"/>
                  <a:gd name="connsiteY70" fmla="*/ 455820 h 1850867"/>
                  <a:gd name="connsiteX71" fmla="*/ 167231 w 2895702"/>
                  <a:gd name="connsiteY71" fmla="*/ 863343 h 1850867"/>
                  <a:gd name="connsiteX72" fmla="*/ 135805 w 2895702"/>
                  <a:gd name="connsiteY72" fmla="*/ 1087621 h 1850867"/>
                  <a:gd name="connsiteX73" fmla="*/ 63974 w 2895702"/>
                  <a:gd name="connsiteY73" fmla="*/ 1238826 h 1850867"/>
                  <a:gd name="connsiteX74" fmla="*/ 63974 w 2895702"/>
                  <a:gd name="connsiteY74" fmla="*/ 1239388 h 1850867"/>
                  <a:gd name="connsiteX75" fmla="*/ 0 w 2895702"/>
                  <a:gd name="connsiteY75" fmla="*/ 1311337 h 1850867"/>
                  <a:gd name="connsiteX76" fmla="*/ 31987 w 2895702"/>
                  <a:gd name="connsiteY76" fmla="*/ 1111229 h 1850867"/>
                  <a:gd name="connsiteX77" fmla="*/ 103818 w 2895702"/>
                  <a:gd name="connsiteY77" fmla="*/ 951592 h 1850867"/>
                  <a:gd name="connsiteX78" fmla="*/ 159375 w 2895702"/>
                  <a:gd name="connsiteY78" fmla="*/ 591848 h 1850867"/>
                  <a:gd name="connsiteX79" fmla="*/ 319310 w 2895702"/>
                  <a:gd name="connsiteY79" fmla="*/ 296184 h 1850867"/>
                  <a:gd name="connsiteX80" fmla="*/ 622030 w 2895702"/>
                  <a:gd name="connsiteY80" fmla="*/ 269308 h 1850867"/>
                  <a:gd name="connsiteX81" fmla="*/ 724248 w 2895702"/>
                  <a:gd name="connsiteY81" fmla="*/ 279689 h 1850867"/>
                  <a:gd name="connsiteX82" fmla="*/ 753767 w 2895702"/>
                  <a:gd name="connsiteY82" fmla="*/ 319009 h 1850867"/>
                  <a:gd name="connsiteX83" fmla="*/ 1010292 w 2895702"/>
                  <a:gd name="connsiteY83" fmla="*/ 501499 h 1850867"/>
                  <a:gd name="connsiteX84" fmla="*/ 1758437 w 2895702"/>
                  <a:gd name="connsiteY84" fmla="*/ 532672 h 1850867"/>
                  <a:gd name="connsiteX85" fmla="*/ 1957813 w 2895702"/>
                  <a:gd name="connsiteY85" fmla="*/ 280043 h 1850867"/>
                  <a:gd name="connsiteX86" fmla="*/ 1973660 w 2895702"/>
                  <a:gd name="connsiteY86" fmla="*/ 234754 h 1850867"/>
                  <a:gd name="connsiteX87" fmla="*/ 2058960 w 2895702"/>
                  <a:gd name="connsiteY87" fmla="*/ 239974 h 1850867"/>
                  <a:gd name="connsiteX88" fmla="*/ 2250322 w 2895702"/>
                  <a:gd name="connsiteY88" fmla="*/ 192195 h 1850867"/>
                  <a:gd name="connsiteX89" fmla="*/ 2282309 w 2895702"/>
                  <a:gd name="connsiteY89" fmla="*/ 72468 h 1850867"/>
                  <a:gd name="connsiteX90" fmla="*/ 2354140 w 2895702"/>
                  <a:gd name="connsiteY90" fmla="*/ 112377 h 1850867"/>
                  <a:gd name="connsiteX91" fmla="*/ 2401840 w 2895702"/>
                  <a:gd name="connsiteY91" fmla="*/ 40428 h 1850867"/>
                  <a:gd name="connsiteX92" fmla="*/ 2480054 w 2895702"/>
                  <a:gd name="connsiteY92" fmla="*/ 97 h 1850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</a:cxnLst>
                <a:rect l="l" t="t" r="r" b="b"/>
                <a:pathLst>
                  <a:path w="2895702" h="1850867">
                    <a:moveTo>
                      <a:pt x="2480054" y="97"/>
                    </a:moveTo>
                    <a:cubicBezTo>
                      <a:pt x="2504816" y="1222"/>
                      <a:pt x="2531472" y="11761"/>
                      <a:pt x="2569632" y="16258"/>
                    </a:cubicBezTo>
                    <a:cubicBezTo>
                      <a:pt x="2635851" y="24127"/>
                      <a:pt x="2813183" y="-11285"/>
                      <a:pt x="2729006" y="64036"/>
                    </a:cubicBezTo>
                    <a:cubicBezTo>
                      <a:pt x="2684112" y="104507"/>
                      <a:pt x="2539328" y="107880"/>
                      <a:pt x="2481527" y="112377"/>
                    </a:cubicBezTo>
                    <a:cubicBezTo>
                      <a:pt x="2584784" y="153410"/>
                      <a:pt x="2669522" y="228732"/>
                      <a:pt x="2736863" y="296184"/>
                    </a:cubicBezTo>
                    <a:cubicBezTo>
                      <a:pt x="2817672" y="377126"/>
                      <a:pt x="2987709" y="460317"/>
                      <a:pt x="2832824" y="535638"/>
                    </a:cubicBezTo>
                    <a:cubicBezTo>
                      <a:pt x="2727323" y="587351"/>
                      <a:pt x="2554480" y="547442"/>
                      <a:pt x="2449540" y="599718"/>
                    </a:cubicBezTo>
                    <a:cubicBezTo>
                      <a:pt x="2437124" y="605972"/>
                      <a:pt x="2425629" y="613542"/>
                      <a:pt x="2414902" y="622253"/>
                    </a:cubicBezTo>
                    <a:lnTo>
                      <a:pt x="2387056" y="649489"/>
                    </a:lnTo>
                    <a:lnTo>
                      <a:pt x="2380369" y="630869"/>
                    </a:lnTo>
                    <a:cubicBezTo>
                      <a:pt x="2368053" y="581570"/>
                      <a:pt x="2386657" y="540195"/>
                      <a:pt x="2362844" y="515788"/>
                    </a:cubicBezTo>
                    <a:cubicBezTo>
                      <a:pt x="2331094" y="483245"/>
                      <a:pt x="2255688" y="483244"/>
                      <a:pt x="2215207" y="487213"/>
                    </a:cubicBezTo>
                    <a:cubicBezTo>
                      <a:pt x="2174726" y="491182"/>
                      <a:pt x="2135832" y="503087"/>
                      <a:pt x="2119957" y="539600"/>
                    </a:cubicBezTo>
                    <a:cubicBezTo>
                      <a:pt x="2104082" y="576112"/>
                      <a:pt x="2104876" y="639613"/>
                      <a:pt x="2119957" y="706288"/>
                    </a:cubicBezTo>
                    <a:cubicBezTo>
                      <a:pt x="2135038" y="772963"/>
                      <a:pt x="2162025" y="876944"/>
                      <a:pt x="2210444" y="939650"/>
                    </a:cubicBezTo>
                    <a:lnTo>
                      <a:pt x="2228155" y="961230"/>
                    </a:lnTo>
                    <a:lnTo>
                      <a:pt x="2222965" y="972829"/>
                    </a:lnTo>
                    <a:cubicBezTo>
                      <a:pt x="2213355" y="994979"/>
                      <a:pt x="2203324" y="1018412"/>
                      <a:pt x="2193082" y="1041669"/>
                    </a:cubicBezTo>
                    <a:lnTo>
                      <a:pt x="2172855" y="1085691"/>
                    </a:lnTo>
                    <a:lnTo>
                      <a:pt x="2166282" y="1084690"/>
                    </a:lnTo>
                    <a:cubicBezTo>
                      <a:pt x="2094412" y="1076896"/>
                      <a:pt x="2013016" y="1079061"/>
                      <a:pt x="1966257" y="1083391"/>
                    </a:cubicBezTo>
                    <a:cubicBezTo>
                      <a:pt x="1872739" y="1092050"/>
                      <a:pt x="1775757" y="1145737"/>
                      <a:pt x="1748048" y="1197691"/>
                    </a:cubicBezTo>
                    <a:cubicBezTo>
                      <a:pt x="1720339" y="1249645"/>
                      <a:pt x="1746316" y="1343163"/>
                      <a:pt x="1800002" y="1395118"/>
                    </a:cubicBezTo>
                    <a:cubicBezTo>
                      <a:pt x="1826845" y="1421096"/>
                      <a:pt x="1872738" y="1458763"/>
                      <a:pt x="1922745" y="1485389"/>
                    </a:cubicBezTo>
                    <a:lnTo>
                      <a:pt x="1953145" y="1499410"/>
                    </a:lnTo>
                    <a:lnTo>
                      <a:pt x="1969988" y="1599000"/>
                    </a:lnTo>
                    <a:cubicBezTo>
                      <a:pt x="1977941" y="1634123"/>
                      <a:pt x="1986849" y="1664898"/>
                      <a:pt x="1994986" y="1686820"/>
                    </a:cubicBezTo>
                    <a:cubicBezTo>
                      <a:pt x="2009296" y="1725604"/>
                      <a:pt x="2028236" y="1755115"/>
                      <a:pt x="2045071" y="1786171"/>
                    </a:cubicBezTo>
                    <a:lnTo>
                      <a:pt x="2049713" y="1796151"/>
                    </a:lnTo>
                    <a:lnTo>
                      <a:pt x="2000894" y="1794519"/>
                    </a:lnTo>
                    <a:lnTo>
                      <a:pt x="1924525" y="1798364"/>
                    </a:lnTo>
                    <a:lnTo>
                      <a:pt x="1923155" y="1790808"/>
                    </a:lnTo>
                    <a:cubicBezTo>
                      <a:pt x="1868721" y="1834090"/>
                      <a:pt x="1877139" y="1664898"/>
                      <a:pt x="1867038" y="1614871"/>
                    </a:cubicBezTo>
                    <a:cubicBezTo>
                      <a:pt x="1858059" y="1569341"/>
                      <a:pt x="1829439" y="1391155"/>
                      <a:pt x="1795207" y="1423195"/>
                    </a:cubicBezTo>
                    <a:cubicBezTo>
                      <a:pt x="1759292" y="1456358"/>
                      <a:pt x="1789595" y="1647472"/>
                      <a:pt x="1795207" y="1694689"/>
                    </a:cubicBezTo>
                    <a:cubicBezTo>
                      <a:pt x="1801100" y="1743872"/>
                      <a:pt x="1812463" y="1774085"/>
                      <a:pt x="1825651" y="1801909"/>
                    </a:cubicBezTo>
                    <a:lnTo>
                      <a:pt x="1828692" y="1808083"/>
                    </a:lnTo>
                    <a:lnTo>
                      <a:pt x="1802834" y="1812735"/>
                    </a:lnTo>
                    <a:cubicBezTo>
                      <a:pt x="1764436" y="1823808"/>
                      <a:pt x="1743719" y="1841668"/>
                      <a:pt x="1703714" y="1850240"/>
                    </a:cubicBezTo>
                    <a:lnTo>
                      <a:pt x="1700744" y="1850867"/>
                    </a:lnTo>
                    <a:lnTo>
                      <a:pt x="1699807" y="1846456"/>
                    </a:lnTo>
                    <a:cubicBezTo>
                      <a:pt x="1704296" y="1850391"/>
                      <a:pt x="1652107" y="1773383"/>
                      <a:pt x="1659963" y="1798677"/>
                    </a:cubicBezTo>
                    <a:cubicBezTo>
                      <a:pt x="1641444" y="1736846"/>
                      <a:pt x="1651546" y="1609812"/>
                      <a:pt x="1643689" y="1542922"/>
                    </a:cubicBezTo>
                    <a:cubicBezTo>
                      <a:pt x="1631343" y="1436685"/>
                      <a:pt x="1587010" y="1286604"/>
                      <a:pt x="1516302" y="1255127"/>
                    </a:cubicBezTo>
                    <a:cubicBezTo>
                      <a:pt x="1428197" y="1215780"/>
                      <a:pt x="1175106" y="1272552"/>
                      <a:pt x="1053330" y="1262996"/>
                    </a:cubicBezTo>
                    <a:cubicBezTo>
                      <a:pt x="952318" y="1255689"/>
                      <a:pt x="956247" y="1251192"/>
                      <a:pt x="901812" y="1302905"/>
                    </a:cubicBezTo>
                    <a:cubicBezTo>
                      <a:pt x="881049" y="1322579"/>
                      <a:pt x="875437" y="1344500"/>
                      <a:pt x="845695" y="1359115"/>
                    </a:cubicBezTo>
                    <a:cubicBezTo>
                      <a:pt x="812585" y="1375416"/>
                      <a:pt x="815391" y="1360801"/>
                      <a:pt x="790138" y="1366984"/>
                    </a:cubicBezTo>
                    <a:cubicBezTo>
                      <a:pt x="815391" y="1360801"/>
                      <a:pt x="697544" y="1379351"/>
                      <a:pt x="726164" y="1383285"/>
                    </a:cubicBezTo>
                    <a:cubicBezTo>
                      <a:pt x="712134" y="1381599"/>
                      <a:pt x="666679" y="1350684"/>
                      <a:pt x="662190" y="1351246"/>
                    </a:cubicBezTo>
                    <a:cubicBezTo>
                      <a:pt x="588675" y="1361363"/>
                      <a:pt x="617295" y="1440620"/>
                      <a:pt x="638059" y="1527183"/>
                    </a:cubicBezTo>
                    <a:cubicBezTo>
                      <a:pt x="666258" y="1643959"/>
                      <a:pt x="714029" y="1715205"/>
                      <a:pt x="747042" y="1797834"/>
                    </a:cubicBezTo>
                    <a:lnTo>
                      <a:pt x="749930" y="1807367"/>
                    </a:lnTo>
                    <a:lnTo>
                      <a:pt x="735974" y="1804996"/>
                    </a:lnTo>
                    <a:cubicBezTo>
                      <a:pt x="690889" y="1797535"/>
                      <a:pt x="639454" y="1789915"/>
                      <a:pt x="614054" y="1789280"/>
                    </a:cubicBezTo>
                    <a:lnTo>
                      <a:pt x="598359" y="1790442"/>
                    </a:lnTo>
                    <a:lnTo>
                      <a:pt x="586999" y="1761155"/>
                    </a:lnTo>
                    <a:cubicBezTo>
                      <a:pt x="573629" y="1715408"/>
                      <a:pt x="568052" y="1659839"/>
                      <a:pt x="558372" y="1599132"/>
                    </a:cubicBezTo>
                    <a:cubicBezTo>
                      <a:pt x="544342" y="1509758"/>
                      <a:pt x="485419" y="1336069"/>
                      <a:pt x="423128" y="1295036"/>
                    </a:cubicBezTo>
                    <a:cubicBezTo>
                      <a:pt x="369816" y="1391155"/>
                      <a:pt x="341196" y="1523810"/>
                      <a:pt x="359154" y="1671081"/>
                    </a:cubicBezTo>
                    <a:cubicBezTo>
                      <a:pt x="362241" y="1697780"/>
                      <a:pt x="369676" y="1724480"/>
                      <a:pt x="378585" y="1750126"/>
                    </a:cubicBezTo>
                    <a:lnTo>
                      <a:pt x="405244" y="1818706"/>
                    </a:lnTo>
                    <a:lnTo>
                      <a:pt x="377834" y="1819760"/>
                    </a:lnTo>
                    <a:cubicBezTo>
                      <a:pt x="377834" y="1819760"/>
                      <a:pt x="335924" y="1814363"/>
                      <a:pt x="291157" y="1812616"/>
                    </a:cubicBezTo>
                    <a:lnTo>
                      <a:pt x="285747" y="1812721"/>
                    </a:lnTo>
                    <a:lnTo>
                      <a:pt x="274057" y="1800153"/>
                    </a:lnTo>
                    <a:cubicBezTo>
                      <a:pt x="258668" y="1789930"/>
                      <a:pt x="238781" y="1788560"/>
                      <a:pt x="231205" y="1766638"/>
                    </a:cubicBezTo>
                    <a:cubicBezTo>
                      <a:pt x="212125" y="1708741"/>
                      <a:pt x="239062" y="1651407"/>
                      <a:pt x="239062" y="1590700"/>
                    </a:cubicBezTo>
                    <a:cubicBezTo>
                      <a:pt x="239062" y="1524373"/>
                      <a:pt x="196973" y="1465914"/>
                      <a:pt x="191362" y="1415325"/>
                    </a:cubicBezTo>
                    <a:cubicBezTo>
                      <a:pt x="185189" y="1355742"/>
                      <a:pt x="221104" y="1307964"/>
                      <a:pt x="239062" y="1247257"/>
                    </a:cubicBezTo>
                    <a:cubicBezTo>
                      <a:pt x="302475" y="1037594"/>
                      <a:pt x="263192" y="708203"/>
                      <a:pt x="263192" y="455820"/>
                    </a:cubicBezTo>
                    <a:cubicBezTo>
                      <a:pt x="190800" y="589038"/>
                      <a:pt x="173404" y="700896"/>
                      <a:pt x="167231" y="863343"/>
                    </a:cubicBezTo>
                    <a:cubicBezTo>
                      <a:pt x="164986" y="938664"/>
                      <a:pt x="163303" y="1022979"/>
                      <a:pt x="135805" y="1087621"/>
                    </a:cubicBezTo>
                    <a:cubicBezTo>
                      <a:pt x="109991" y="1147765"/>
                      <a:pt x="67341" y="1168563"/>
                      <a:pt x="63974" y="1238826"/>
                    </a:cubicBezTo>
                    <a:lnTo>
                      <a:pt x="63974" y="1239388"/>
                    </a:lnTo>
                    <a:cubicBezTo>
                      <a:pt x="54996" y="1280421"/>
                      <a:pt x="38160" y="1301219"/>
                      <a:pt x="0" y="1311337"/>
                    </a:cubicBezTo>
                    <a:cubicBezTo>
                      <a:pt x="32548" y="1257937"/>
                      <a:pt x="19080" y="1189923"/>
                      <a:pt x="31987" y="1111229"/>
                    </a:cubicBezTo>
                    <a:cubicBezTo>
                      <a:pt x="44333" y="1033097"/>
                      <a:pt x="80249" y="1007240"/>
                      <a:pt x="103818" y="951592"/>
                    </a:cubicBezTo>
                    <a:cubicBezTo>
                      <a:pt x="139733" y="866153"/>
                      <a:pt x="134683" y="714948"/>
                      <a:pt x="159375" y="591848"/>
                    </a:cubicBezTo>
                    <a:cubicBezTo>
                      <a:pt x="185189" y="463127"/>
                      <a:pt x="227277" y="337217"/>
                      <a:pt x="319310" y="296184"/>
                    </a:cubicBezTo>
                    <a:cubicBezTo>
                      <a:pt x="404749" y="257820"/>
                      <a:pt x="515441" y="259928"/>
                      <a:pt x="622030" y="269308"/>
                    </a:cubicBezTo>
                    <a:lnTo>
                      <a:pt x="724248" y="279689"/>
                    </a:lnTo>
                    <a:lnTo>
                      <a:pt x="753767" y="319009"/>
                    </a:lnTo>
                    <a:cubicBezTo>
                      <a:pt x="821524" y="395858"/>
                      <a:pt x="921104" y="464265"/>
                      <a:pt x="1010292" y="501499"/>
                    </a:cubicBezTo>
                    <a:cubicBezTo>
                      <a:pt x="1188669" y="575967"/>
                      <a:pt x="1593914" y="619263"/>
                      <a:pt x="1758437" y="532672"/>
                    </a:cubicBezTo>
                    <a:cubicBezTo>
                      <a:pt x="1840699" y="489377"/>
                      <a:pt x="1912569" y="388498"/>
                      <a:pt x="1957813" y="280043"/>
                    </a:cubicBezTo>
                    <a:lnTo>
                      <a:pt x="1973660" y="234754"/>
                    </a:lnTo>
                    <a:lnTo>
                      <a:pt x="2058960" y="239974"/>
                    </a:lnTo>
                    <a:cubicBezTo>
                      <a:pt x="2141454" y="242784"/>
                      <a:pt x="2230120" y="252902"/>
                      <a:pt x="2250322" y="192195"/>
                    </a:cubicBezTo>
                    <a:cubicBezTo>
                      <a:pt x="2274453" y="119684"/>
                      <a:pt x="2188031" y="72468"/>
                      <a:pt x="2282309" y="72468"/>
                    </a:cubicBezTo>
                    <a:cubicBezTo>
                      <a:pt x="2309807" y="72468"/>
                      <a:pt x="2338427" y="115187"/>
                      <a:pt x="2354140" y="112377"/>
                    </a:cubicBezTo>
                    <a:cubicBezTo>
                      <a:pt x="2409135" y="101135"/>
                      <a:pt x="2373220" y="71906"/>
                      <a:pt x="2401840" y="40428"/>
                    </a:cubicBezTo>
                    <a:cubicBezTo>
                      <a:pt x="2432424" y="7264"/>
                      <a:pt x="2455292" y="-1027"/>
                      <a:pt x="2480054" y="97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96" name="Group 95">
                <a:extLst>
                  <a:ext uri="{FF2B5EF4-FFF2-40B4-BE49-F238E27FC236}">
                    <a16:creationId xmlns:a16="http://schemas.microsoft.com/office/drawing/2014/main" id="{CAC706DB-56CB-482F-88DF-A9E45EF539D5}"/>
                  </a:ext>
                </a:extLst>
              </p:cNvPr>
              <p:cNvGrpSpPr/>
              <p:nvPr/>
            </p:nvGrpSpPr>
            <p:grpSpPr>
              <a:xfrm>
                <a:off x="4628031" y="2253781"/>
                <a:ext cx="120787" cy="70163"/>
                <a:chOff x="3880384" y="5576888"/>
                <a:chExt cx="393660" cy="195262"/>
              </a:xfrm>
            </p:grpSpPr>
            <p:sp>
              <p:nvSpPr>
                <p:cNvPr id="105" name="Oval 104">
                  <a:extLst>
                    <a:ext uri="{FF2B5EF4-FFF2-40B4-BE49-F238E27FC236}">
                      <a16:creationId xmlns:a16="http://schemas.microsoft.com/office/drawing/2014/main" id="{20E26F9C-4CD7-458E-A353-633707242D6E}"/>
                    </a:ext>
                  </a:extLst>
                </p:cNvPr>
                <p:cNvSpPr/>
                <p:nvPr/>
              </p:nvSpPr>
              <p:spPr>
                <a:xfrm>
                  <a:off x="3880384" y="5576888"/>
                  <a:ext cx="393660" cy="195262"/>
                </a:xfrm>
                <a:prstGeom prst="ellipse">
                  <a:avLst/>
                </a:prstGeom>
                <a:solidFill>
                  <a:schemeClr val="tx1">
                    <a:lumMod val="95000"/>
                    <a:lumOff val="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06" name="Oval 105">
                  <a:extLst>
                    <a:ext uri="{FF2B5EF4-FFF2-40B4-BE49-F238E27FC236}">
                      <a16:creationId xmlns:a16="http://schemas.microsoft.com/office/drawing/2014/main" id="{765D7B9C-72CD-4D46-AA61-42214CA1FB30}"/>
                    </a:ext>
                  </a:extLst>
                </p:cNvPr>
                <p:cNvSpPr/>
                <p:nvPr/>
              </p:nvSpPr>
              <p:spPr>
                <a:xfrm>
                  <a:off x="4159741" y="5641181"/>
                  <a:ext cx="66975" cy="66675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3F643D97-18BB-4ED7-8D62-E4FA49EB5214}"/>
                  </a:ext>
                </a:extLst>
              </p:cNvPr>
              <p:cNvSpPr/>
              <p:nvPr/>
            </p:nvSpPr>
            <p:spPr>
              <a:xfrm>
                <a:off x="2914356" y="2231703"/>
                <a:ext cx="1249412" cy="361970"/>
              </a:xfrm>
              <a:custGeom>
                <a:avLst/>
                <a:gdLst>
                  <a:gd name="connsiteX0" fmla="*/ 989378 w 1249412"/>
                  <a:gd name="connsiteY0" fmla="*/ 30 h 361970"/>
                  <a:gd name="connsiteX1" fmla="*/ 1219601 w 1249412"/>
                  <a:gd name="connsiteY1" fmla="*/ 14328 h 361970"/>
                  <a:gd name="connsiteX2" fmla="*/ 1249412 w 1249412"/>
                  <a:gd name="connsiteY2" fmla="*/ 16152 h 361970"/>
                  <a:gd name="connsiteX3" fmla="*/ 1233565 w 1249412"/>
                  <a:gd name="connsiteY3" fmla="*/ 61441 h 361970"/>
                  <a:gd name="connsiteX4" fmla="*/ 1034189 w 1249412"/>
                  <a:gd name="connsiteY4" fmla="*/ 314070 h 361970"/>
                  <a:gd name="connsiteX5" fmla="*/ 286044 w 1249412"/>
                  <a:gd name="connsiteY5" fmla="*/ 282897 h 361970"/>
                  <a:gd name="connsiteX6" fmla="*/ 29519 w 1249412"/>
                  <a:gd name="connsiteY6" fmla="*/ 100407 h 361970"/>
                  <a:gd name="connsiteX7" fmla="*/ 0 w 1249412"/>
                  <a:gd name="connsiteY7" fmla="*/ 61087 h 361970"/>
                  <a:gd name="connsiteX8" fmla="*/ 1916 w 1249412"/>
                  <a:gd name="connsiteY8" fmla="*/ 61281 h 361970"/>
                  <a:gd name="connsiteX9" fmla="*/ 871741 w 1249412"/>
                  <a:gd name="connsiteY9" fmla="*/ 5633 h 361970"/>
                  <a:gd name="connsiteX10" fmla="*/ 989378 w 1249412"/>
                  <a:gd name="connsiteY10" fmla="*/ 30 h 3619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49412" h="361970">
                    <a:moveTo>
                      <a:pt x="989378" y="30"/>
                    </a:moveTo>
                    <a:cubicBezTo>
                      <a:pt x="1066961" y="557"/>
                      <a:pt x="1143141" y="8180"/>
                      <a:pt x="1219601" y="14328"/>
                    </a:cubicBezTo>
                    <a:lnTo>
                      <a:pt x="1249412" y="16152"/>
                    </a:lnTo>
                    <a:lnTo>
                      <a:pt x="1233565" y="61441"/>
                    </a:lnTo>
                    <a:cubicBezTo>
                      <a:pt x="1188321" y="169896"/>
                      <a:pt x="1116451" y="270775"/>
                      <a:pt x="1034189" y="314070"/>
                    </a:cubicBezTo>
                    <a:cubicBezTo>
                      <a:pt x="869666" y="400661"/>
                      <a:pt x="464421" y="357365"/>
                      <a:pt x="286044" y="282897"/>
                    </a:cubicBezTo>
                    <a:cubicBezTo>
                      <a:pt x="196856" y="245663"/>
                      <a:pt x="97276" y="177256"/>
                      <a:pt x="29519" y="100407"/>
                    </a:cubicBezTo>
                    <a:lnTo>
                      <a:pt x="0" y="61087"/>
                    </a:lnTo>
                    <a:lnTo>
                      <a:pt x="1916" y="61281"/>
                    </a:lnTo>
                    <a:cubicBezTo>
                      <a:pt x="303829" y="93882"/>
                      <a:pt x="584979" y="36548"/>
                      <a:pt x="871741" y="5633"/>
                    </a:cubicBezTo>
                    <a:cubicBezTo>
                      <a:pt x="911444" y="1277"/>
                      <a:pt x="950587" y="-234"/>
                      <a:pt x="989378" y="30"/>
                    </a:cubicBez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455ACD2A-4F33-4D7D-9F56-2A57170637E1}"/>
                  </a:ext>
                </a:extLst>
              </p:cNvPr>
              <p:cNvSpPr/>
              <p:nvPr/>
            </p:nvSpPr>
            <p:spPr>
              <a:xfrm>
                <a:off x="3926935" y="3092590"/>
                <a:ext cx="436027" cy="419921"/>
              </a:xfrm>
              <a:custGeom>
                <a:avLst/>
                <a:gdLst>
                  <a:gd name="connsiteX0" fmla="*/ 320025 w 436027"/>
                  <a:gd name="connsiteY0" fmla="*/ 5 h 419921"/>
                  <a:gd name="connsiteX1" fmla="*/ 429454 w 436027"/>
                  <a:gd name="connsiteY1" fmla="*/ 5201 h 419921"/>
                  <a:gd name="connsiteX2" fmla="*/ 436027 w 436027"/>
                  <a:gd name="connsiteY2" fmla="*/ 6202 h 419921"/>
                  <a:gd name="connsiteX3" fmla="*/ 425108 w 436027"/>
                  <a:gd name="connsiteY3" fmla="*/ 29966 h 419921"/>
                  <a:gd name="connsiteX4" fmla="*/ 393963 w 436027"/>
                  <a:gd name="connsiteY4" fmla="*/ 87950 h 419921"/>
                  <a:gd name="connsiteX5" fmla="*/ 234028 w 436027"/>
                  <a:gd name="connsiteY5" fmla="*/ 207677 h 419921"/>
                  <a:gd name="connsiteX6" fmla="*/ 213896 w 436027"/>
                  <a:gd name="connsiteY6" fmla="*/ 405607 h 419921"/>
                  <a:gd name="connsiteX7" fmla="*/ 216317 w 436027"/>
                  <a:gd name="connsiteY7" fmla="*/ 419921 h 419921"/>
                  <a:gd name="connsiteX8" fmla="*/ 185917 w 436027"/>
                  <a:gd name="connsiteY8" fmla="*/ 405900 h 419921"/>
                  <a:gd name="connsiteX9" fmla="*/ 63174 w 436027"/>
                  <a:gd name="connsiteY9" fmla="*/ 315629 h 419921"/>
                  <a:gd name="connsiteX10" fmla="*/ 11220 w 436027"/>
                  <a:gd name="connsiteY10" fmla="*/ 118202 h 419921"/>
                  <a:gd name="connsiteX11" fmla="*/ 229429 w 436027"/>
                  <a:gd name="connsiteY11" fmla="*/ 3902 h 419921"/>
                  <a:gd name="connsiteX12" fmla="*/ 320025 w 436027"/>
                  <a:gd name="connsiteY12" fmla="*/ 5 h 4199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36027" h="419921">
                    <a:moveTo>
                      <a:pt x="320025" y="5"/>
                    </a:moveTo>
                    <a:cubicBezTo>
                      <a:pt x="355202" y="-103"/>
                      <a:pt x="393519" y="1304"/>
                      <a:pt x="429454" y="5201"/>
                    </a:cubicBezTo>
                    <a:lnTo>
                      <a:pt x="436027" y="6202"/>
                    </a:lnTo>
                    <a:lnTo>
                      <a:pt x="425108" y="29966"/>
                    </a:lnTo>
                    <a:cubicBezTo>
                      <a:pt x="414657" y="51414"/>
                      <a:pt x="404205" y="71228"/>
                      <a:pt x="393963" y="87950"/>
                    </a:cubicBezTo>
                    <a:cubicBezTo>
                      <a:pt x="354120" y="152029"/>
                      <a:pt x="267137" y="156526"/>
                      <a:pt x="234028" y="207677"/>
                    </a:cubicBezTo>
                    <a:cubicBezTo>
                      <a:pt x="207372" y="248992"/>
                      <a:pt x="205268" y="326983"/>
                      <a:pt x="213896" y="405607"/>
                    </a:cubicBezTo>
                    <a:lnTo>
                      <a:pt x="216317" y="419921"/>
                    </a:lnTo>
                    <a:lnTo>
                      <a:pt x="185917" y="405900"/>
                    </a:lnTo>
                    <a:cubicBezTo>
                      <a:pt x="135910" y="379274"/>
                      <a:pt x="90017" y="341607"/>
                      <a:pt x="63174" y="315629"/>
                    </a:cubicBezTo>
                    <a:cubicBezTo>
                      <a:pt x="9488" y="263674"/>
                      <a:pt x="-16489" y="170156"/>
                      <a:pt x="11220" y="118202"/>
                    </a:cubicBezTo>
                    <a:cubicBezTo>
                      <a:pt x="38929" y="66248"/>
                      <a:pt x="135911" y="12561"/>
                      <a:pt x="229429" y="3902"/>
                    </a:cubicBezTo>
                    <a:cubicBezTo>
                      <a:pt x="252809" y="1737"/>
                      <a:pt x="284847" y="114"/>
                      <a:pt x="320025" y="5"/>
                    </a:cubicBez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7BBC3FBF-D7F4-4D4C-8EED-BCB384DFA8D2}"/>
                  </a:ext>
                </a:extLst>
              </p:cNvPr>
              <p:cNvSpPr/>
              <p:nvPr/>
            </p:nvSpPr>
            <p:spPr>
              <a:xfrm>
                <a:off x="2677357" y="2762236"/>
                <a:ext cx="983543" cy="427908"/>
              </a:xfrm>
              <a:custGeom>
                <a:avLst/>
                <a:gdLst>
                  <a:gd name="connsiteX0" fmla="*/ 117798 w 983543"/>
                  <a:gd name="connsiteY0" fmla="*/ 53700 h 427908"/>
                  <a:gd name="connsiteX1" fmla="*/ 3498 w 983543"/>
                  <a:gd name="connsiteY1" fmla="*/ 323864 h 427908"/>
                  <a:gd name="connsiteX2" fmla="*/ 252879 w 983543"/>
                  <a:gd name="connsiteY2" fmla="*/ 427773 h 427908"/>
                  <a:gd name="connsiteX3" fmla="*/ 564607 w 983543"/>
                  <a:gd name="connsiteY3" fmla="*/ 344646 h 427908"/>
                  <a:gd name="connsiteX4" fmla="*/ 793207 w 983543"/>
                  <a:gd name="connsiteY4" fmla="*/ 292691 h 427908"/>
                  <a:gd name="connsiteX5" fmla="*/ 959461 w 983543"/>
                  <a:gd name="connsiteY5" fmla="*/ 261519 h 427908"/>
                  <a:gd name="connsiteX6" fmla="*/ 907507 w 983543"/>
                  <a:gd name="connsiteY6" fmla="*/ 95264 h 427908"/>
                  <a:gd name="connsiteX7" fmla="*/ 273661 w 983543"/>
                  <a:gd name="connsiteY7" fmla="*/ 1746 h 427908"/>
                  <a:gd name="connsiteX8" fmla="*/ 117798 w 983543"/>
                  <a:gd name="connsiteY8" fmla="*/ 53700 h 427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83543" h="427908">
                    <a:moveTo>
                      <a:pt x="117798" y="53700"/>
                    </a:moveTo>
                    <a:cubicBezTo>
                      <a:pt x="72771" y="107386"/>
                      <a:pt x="-19015" y="261519"/>
                      <a:pt x="3498" y="323864"/>
                    </a:cubicBezTo>
                    <a:cubicBezTo>
                      <a:pt x="26011" y="386209"/>
                      <a:pt x="159361" y="424309"/>
                      <a:pt x="252879" y="427773"/>
                    </a:cubicBezTo>
                    <a:cubicBezTo>
                      <a:pt x="346397" y="431237"/>
                      <a:pt x="474552" y="367160"/>
                      <a:pt x="564607" y="344646"/>
                    </a:cubicBezTo>
                    <a:cubicBezTo>
                      <a:pt x="654662" y="322132"/>
                      <a:pt x="727398" y="306546"/>
                      <a:pt x="793207" y="292691"/>
                    </a:cubicBezTo>
                    <a:cubicBezTo>
                      <a:pt x="859016" y="278837"/>
                      <a:pt x="940411" y="294424"/>
                      <a:pt x="959461" y="261519"/>
                    </a:cubicBezTo>
                    <a:cubicBezTo>
                      <a:pt x="978511" y="228615"/>
                      <a:pt x="1021807" y="138559"/>
                      <a:pt x="907507" y="95264"/>
                    </a:cubicBezTo>
                    <a:cubicBezTo>
                      <a:pt x="793207" y="51969"/>
                      <a:pt x="401816" y="6941"/>
                      <a:pt x="273661" y="1746"/>
                    </a:cubicBezTo>
                    <a:cubicBezTo>
                      <a:pt x="145506" y="-3450"/>
                      <a:pt x="162825" y="14"/>
                      <a:pt x="117798" y="53700"/>
                    </a:cubicBez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9829E38D-C7A2-4492-87B3-053567C789CF}"/>
                  </a:ext>
                </a:extLst>
              </p:cNvPr>
              <p:cNvSpPr/>
              <p:nvPr/>
            </p:nvSpPr>
            <p:spPr>
              <a:xfrm>
                <a:off x="4298454" y="2498525"/>
                <a:ext cx="278709" cy="475805"/>
              </a:xfrm>
              <a:custGeom>
                <a:avLst/>
                <a:gdLst>
                  <a:gd name="connsiteX0" fmla="*/ 142541 w 278709"/>
                  <a:gd name="connsiteY0" fmla="*/ 2 h 475805"/>
                  <a:gd name="connsiteX1" fmla="*/ 254497 w 278709"/>
                  <a:gd name="connsiteY1" fmla="*/ 30363 h 475805"/>
                  <a:gd name="connsiteX2" fmla="*/ 272022 w 278709"/>
                  <a:gd name="connsiteY2" fmla="*/ 145444 h 475805"/>
                  <a:gd name="connsiteX3" fmla="*/ 278709 w 278709"/>
                  <a:gd name="connsiteY3" fmla="*/ 164064 h 475805"/>
                  <a:gd name="connsiteX4" fmla="*/ 276526 w 278709"/>
                  <a:gd name="connsiteY4" fmla="*/ 166199 h 475805"/>
                  <a:gd name="connsiteX5" fmla="*/ 141975 w 278709"/>
                  <a:gd name="connsiteY5" fmla="*/ 426258 h 475805"/>
                  <a:gd name="connsiteX6" fmla="*/ 119808 w 278709"/>
                  <a:gd name="connsiteY6" fmla="*/ 475805 h 475805"/>
                  <a:gd name="connsiteX7" fmla="*/ 102097 w 278709"/>
                  <a:gd name="connsiteY7" fmla="*/ 454225 h 475805"/>
                  <a:gd name="connsiteX8" fmla="*/ 11610 w 278709"/>
                  <a:gd name="connsiteY8" fmla="*/ 220863 h 475805"/>
                  <a:gd name="connsiteX9" fmla="*/ 11610 w 278709"/>
                  <a:gd name="connsiteY9" fmla="*/ 54175 h 475805"/>
                  <a:gd name="connsiteX10" fmla="*/ 106860 w 278709"/>
                  <a:gd name="connsiteY10" fmla="*/ 1788 h 475805"/>
                  <a:gd name="connsiteX11" fmla="*/ 142541 w 278709"/>
                  <a:gd name="connsiteY11" fmla="*/ 2 h 4758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78709" h="475805">
                    <a:moveTo>
                      <a:pt x="142541" y="2"/>
                    </a:moveTo>
                    <a:cubicBezTo>
                      <a:pt x="182316" y="-147"/>
                      <a:pt x="230685" y="5956"/>
                      <a:pt x="254497" y="30363"/>
                    </a:cubicBezTo>
                    <a:cubicBezTo>
                      <a:pt x="278310" y="54770"/>
                      <a:pt x="259706" y="96145"/>
                      <a:pt x="272022" y="145444"/>
                    </a:cubicBezTo>
                    <a:lnTo>
                      <a:pt x="278709" y="164064"/>
                    </a:lnTo>
                    <a:lnTo>
                      <a:pt x="276526" y="166199"/>
                    </a:lnTo>
                    <a:cubicBezTo>
                      <a:pt x="220470" y="231070"/>
                      <a:pt x="186589" y="330561"/>
                      <a:pt x="141975" y="426258"/>
                    </a:cubicBezTo>
                    <a:lnTo>
                      <a:pt x="119808" y="475805"/>
                    </a:lnTo>
                    <a:lnTo>
                      <a:pt x="102097" y="454225"/>
                    </a:lnTo>
                    <a:cubicBezTo>
                      <a:pt x="53678" y="391519"/>
                      <a:pt x="26691" y="287538"/>
                      <a:pt x="11610" y="220863"/>
                    </a:cubicBezTo>
                    <a:cubicBezTo>
                      <a:pt x="-3471" y="154188"/>
                      <a:pt x="-4265" y="90687"/>
                      <a:pt x="11610" y="54175"/>
                    </a:cubicBezTo>
                    <a:cubicBezTo>
                      <a:pt x="27485" y="17662"/>
                      <a:pt x="66379" y="5757"/>
                      <a:pt x="106860" y="1788"/>
                    </a:cubicBezTo>
                    <a:cubicBezTo>
                      <a:pt x="116980" y="796"/>
                      <a:pt x="129284" y="52"/>
                      <a:pt x="142541" y="2"/>
                    </a:cubicBez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1C89B32C-B26F-49A9-8D08-8E56F0B79023}"/>
                  </a:ext>
                </a:extLst>
              </p:cNvPr>
              <p:cNvSpPr/>
              <p:nvPr/>
            </p:nvSpPr>
            <p:spPr>
              <a:xfrm>
                <a:off x="2788465" y="3802381"/>
                <a:ext cx="175505" cy="97085"/>
              </a:xfrm>
              <a:custGeom>
                <a:avLst/>
                <a:gdLst>
                  <a:gd name="connsiteX0" fmla="*/ 15695 w 175505"/>
                  <a:gd name="connsiteY0" fmla="*/ 0 h 97085"/>
                  <a:gd name="connsiteX1" fmla="*/ 137615 w 175505"/>
                  <a:gd name="connsiteY1" fmla="*/ 15716 h 97085"/>
                  <a:gd name="connsiteX2" fmla="*/ 151571 w 175505"/>
                  <a:gd name="connsiteY2" fmla="*/ 18087 h 97085"/>
                  <a:gd name="connsiteX3" fmla="*/ 175505 w 175505"/>
                  <a:gd name="connsiteY3" fmla="*/ 97085 h 97085"/>
                  <a:gd name="connsiteX4" fmla="*/ 5047 w 175505"/>
                  <a:gd name="connsiteY4" fmla="*/ 14175 h 97085"/>
                  <a:gd name="connsiteX5" fmla="*/ 0 w 175505"/>
                  <a:gd name="connsiteY5" fmla="*/ 1162 h 97085"/>
                  <a:gd name="connsiteX6" fmla="*/ 15695 w 175505"/>
                  <a:gd name="connsiteY6" fmla="*/ 0 h 970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5505" h="97085">
                    <a:moveTo>
                      <a:pt x="15695" y="0"/>
                    </a:moveTo>
                    <a:cubicBezTo>
                      <a:pt x="41095" y="635"/>
                      <a:pt x="92530" y="8255"/>
                      <a:pt x="137615" y="15716"/>
                    </a:cubicBezTo>
                    <a:lnTo>
                      <a:pt x="151571" y="18087"/>
                    </a:lnTo>
                    <a:lnTo>
                      <a:pt x="175505" y="97085"/>
                    </a:lnTo>
                    <a:cubicBezTo>
                      <a:pt x="78983" y="97085"/>
                      <a:pt x="31563" y="65748"/>
                      <a:pt x="5047" y="14175"/>
                    </a:cubicBezTo>
                    <a:lnTo>
                      <a:pt x="0" y="1162"/>
                    </a:lnTo>
                    <a:lnTo>
                      <a:pt x="15695" y="0"/>
                    </a:ln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2" name="Freeform: Shape 101">
                <a:extLst>
                  <a:ext uri="{FF2B5EF4-FFF2-40B4-BE49-F238E27FC236}">
                    <a16:creationId xmlns:a16="http://schemas.microsoft.com/office/drawing/2014/main" id="{A2BEA452-6430-473B-8B63-A77615328962}"/>
                  </a:ext>
                </a:extLst>
              </p:cNvPr>
              <p:cNvSpPr/>
              <p:nvPr/>
            </p:nvSpPr>
            <p:spPr>
              <a:xfrm>
                <a:off x="4114631" y="3807620"/>
                <a:ext cx="158005" cy="100357"/>
              </a:xfrm>
              <a:custGeom>
                <a:avLst/>
                <a:gdLst>
                  <a:gd name="connsiteX0" fmla="*/ 76369 w 158005"/>
                  <a:gd name="connsiteY0" fmla="*/ 0 h 100357"/>
                  <a:gd name="connsiteX1" fmla="*/ 125188 w 158005"/>
                  <a:gd name="connsiteY1" fmla="*/ 1632 h 100357"/>
                  <a:gd name="connsiteX2" fmla="*/ 143379 w 158005"/>
                  <a:gd name="connsiteY2" fmla="*/ 40748 h 100357"/>
                  <a:gd name="connsiteX3" fmla="*/ 158005 w 158005"/>
                  <a:gd name="connsiteY3" fmla="*/ 100278 h 100357"/>
                  <a:gd name="connsiteX4" fmla="*/ 5202 w 158005"/>
                  <a:gd name="connsiteY4" fmla="*/ 32550 h 100357"/>
                  <a:gd name="connsiteX5" fmla="*/ 0 w 158005"/>
                  <a:gd name="connsiteY5" fmla="*/ 3845 h 100357"/>
                  <a:gd name="connsiteX6" fmla="*/ 76369 w 158005"/>
                  <a:gd name="connsiteY6" fmla="*/ 0 h 1003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8005" h="100357">
                    <a:moveTo>
                      <a:pt x="76369" y="0"/>
                    </a:moveTo>
                    <a:lnTo>
                      <a:pt x="125188" y="1632"/>
                    </a:lnTo>
                    <a:lnTo>
                      <a:pt x="143379" y="40748"/>
                    </a:lnTo>
                    <a:cubicBezTo>
                      <a:pt x="149903" y="58402"/>
                      <a:pt x="155059" y="77794"/>
                      <a:pt x="158005" y="100278"/>
                    </a:cubicBezTo>
                    <a:cubicBezTo>
                      <a:pt x="38685" y="100278"/>
                      <a:pt x="20332" y="105442"/>
                      <a:pt x="5202" y="32550"/>
                    </a:cubicBezTo>
                    <a:lnTo>
                      <a:pt x="0" y="3845"/>
                    </a:lnTo>
                    <a:lnTo>
                      <a:pt x="76369" y="0"/>
                    </a:ln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8FFA5694-DA0E-4A1A-8503-03226A59FB5C}"/>
                  </a:ext>
                </a:extLst>
              </p:cNvPr>
              <p:cNvSpPr/>
              <p:nvPr/>
            </p:nvSpPr>
            <p:spPr>
              <a:xfrm>
                <a:off x="3887583" y="3821184"/>
                <a:ext cx="169561" cy="95207"/>
              </a:xfrm>
              <a:custGeom>
                <a:avLst/>
                <a:gdLst>
                  <a:gd name="connsiteX0" fmla="*/ 131215 w 169561"/>
                  <a:gd name="connsiteY0" fmla="*/ 0 h 95207"/>
                  <a:gd name="connsiteX1" fmla="*/ 148867 w 169561"/>
                  <a:gd name="connsiteY1" fmla="*/ 35843 h 95207"/>
                  <a:gd name="connsiteX2" fmla="*/ 169561 w 169561"/>
                  <a:gd name="connsiteY2" fmla="*/ 86714 h 95207"/>
                  <a:gd name="connsiteX3" fmla="*/ 2330 w 169561"/>
                  <a:gd name="connsiteY3" fmla="*/ 86714 h 95207"/>
                  <a:gd name="connsiteX4" fmla="*/ 4303 w 169561"/>
                  <a:gd name="connsiteY4" fmla="*/ 47665 h 95207"/>
                  <a:gd name="connsiteX5" fmla="*/ 3267 w 169561"/>
                  <a:gd name="connsiteY5" fmla="*/ 42784 h 95207"/>
                  <a:gd name="connsiteX6" fmla="*/ 6237 w 169561"/>
                  <a:gd name="connsiteY6" fmla="*/ 42157 h 95207"/>
                  <a:gd name="connsiteX7" fmla="*/ 105357 w 169561"/>
                  <a:gd name="connsiteY7" fmla="*/ 4652 h 95207"/>
                  <a:gd name="connsiteX8" fmla="*/ 131215 w 169561"/>
                  <a:gd name="connsiteY8" fmla="*/ 0 h 95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9561" h="95207">
                    <a:moveTo>
                      <a:pt x="131215" y="0"/>
                    </a:moveTo>
                    <a:lnTo>
                      <a:pt x="148867" y="35843"/>
                    </a:lnTo>
                    <a:cubicBezTo>
                      <a:pt x="155917" y="50634"/>
                      <a:pt x="162967" y="66900"/>
                      <a:pt x="169561" y="86714"/>
                    </a:cubicBezTo>
                    <a:cubicBezTo>
                      <a:pt x="135890" y="86714"/>
                      <a:pt x="27022" y="105825"/>
                      <a:pt x="2330" y="86714"/>
                    </a:cubicBezTo>
                    <a:cubicBezTo>
                      <a:pt x="-3563" y="82076"/>
                      <a:pt x="3487" y="60681"/>
                      <a:pt x="4303" y="47665"/>
                    </a:cubicBezTo>
                    <a:lnTo>
                      <a:pt x="3267" y="42784"/>
                    </a:lnTo>
                    <a:lnTo>
                      <a:pt x="6237" y="42157"/>
                    </a:lnTo>
                    <a:cubicBezTo>
                      <a:pt x="46242" y="33585"/>
                      <a:pt x="66959" y="15725"/>
                      <a:pt x="105357" y="4652"/>
                    </a:cubicBezTo>
                    <a:lnTo>
                      <a:pt x="131215" y="0"/>
                    </a:ln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4" name="Freeform: Shape 103">
                <a:extLst>
                  <a:ext uri="{FF2B5EF4-FFF2-40B4-BE49-F238E27FC236}">
                    <a16:creationId xmlns:a16="http://schemas.microsoft.com/office/drawing/2014/main" id="{AD4772EF-257A-430F-9155-AADD718A59CC}"/>
                  </a:ext>
                </a:extLst>
              </p:cNvPr>
              <p:cNvSpPr/>
              <p:nvPr/>
            </p:nvSpPr>
            <p:spPr>
              <a:xfrm>
                <a:off x="2470780" y="3825717"/>
                <a:ext cx="159017" cy="103943"/>
              </a:xfrm>
              <a:custGeom>
                <a:avLst/>
                <a:gdLst>
                  <a:gd name="connsiteX0" fmla="*/ 10483 w 159017"/>
                  <a:gd name="connsiteY0" fmla="*/ 0 h 103943"/>
                  <a:gd name="connsiteX1" fmla="*/ 97160 w 159017"/>
                  <a:gd name="connsiteY1" fmla="*/ 7144 h 103943"/>
                  <a:gd name="connsiteX2" fmla="*/ 124570 w 159017"/>
                  <a:gd name="connsiteY2" fmla="*/ 6090 h 103943"/>
                  <a:gd name="connsiteX3" fmla="*/ 126180 w 159017"/>
                  <a:gd name="connsiteY3" fmla="*/ 10232 h 103943"/>
                  <a:gd name="connsiteX4" fmla="*/ 158167 w 159017"/>
                  <a:gd name="connsiteY4" fmla="*/ 73749 h 103943"/>
                  <a:gd name="connsiteX5" fmla="*/ 6649 w 159017"/>
                  <a:gd name="connsiteY5" fmla="*/ 82181 h 103943"/>
                  <a:gd name="connsiteX6" fmla="*/ 6649 w 159017"/>
                  <a:gd name="connsiteY6" fmla="*/ 1800 h 103943"/>
                  <a:gd name="connsiteX7" fmla="*/ 5073 w 159017"/>
                  <a:gd name="connsiteY7" fmla="*/ 105 h 103943"/>
                  <a:gd name="connsiteX8" fmla="*/ 10483 w 159017"/>
                  <a:gd name="connsiteY8" fmla="*/ 0 h 103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9017" h="103943">
                    <a:moveTo>
                      <a:pt x="10483" y="0"/>
                    </a:moveTo>
                    <a:cubicBezTo>
                      <a:pt x="55250" y="1747"/>
                      <a:pt x="97160" y="7144"/>
                      <a:pt x="97160" y="7144"/>
                    </a:cubicBezTo>
                    <a:lnTo>
                      <a:pt x="124570" y="6090"/>
                    </a:lnTo>
                    <a:lnTo>
                      <a:pt x="126180" y="10232"/>
                    </a:lnTo>
                    <a:cubicBezTo>
                      <a:pt x="129547" y="18663"/>
                      <a:pt x="164901" y="60821"/>
                      <a:pt x="158167" y="73749"/>
                    </a:cubicBezTo>
                    <a:cubicBezTo>
                      <a:pt x="137403" y="113658"/>
                      <a:pt x="35830" y="111410"/>
                      <a:pt x="6649" y="82181"/>
                    </a:cubicBezTo>
                    <a:cubicBezTo>
                      <a:pt x="-9625" y="65880"/>
                      <a:pt x="9455" y="7983"/>
                      <a:pt x="6649" y="1800"/>
                    </a:cubicBezTo>
                    <a:lnTo>
                      <a:pt x="5073" y="105"/>
                    </a:lnTo>
                    <a:lnTo>
                      <a:pt x="10483" y="0"/>
                    </a:ln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5B85B7A4-8B80-4914-B9FF-90EF4674ABF5}"/>
              </a:ext>
            </a:extLst>
          </p:cNvPr>
          <p:cNvGrpSpPr/>
          <p:nvPr/>
        </p:nvGrpSpPr>
        <p:grpSpPr>
          <a:xfrm flipH="1">
            <a:off x="7501940" y="4535423"/>
            <a:ext cx="1223439" cy="2067461"/>
            <a:chOff x="2820309" y="378736"/>
            <a:chExt cx="3654564" cy="6175768"/>
          </a:xfrm>
        </p:grpSpPr>
        <p:sp>
          <p:nvSpPr>
            <p:cNvPr id="108" name="Oval 107">
              <a:extLst>
                <a:ext uri="{FF2B5EF4-FFF2-40B4-BE49-F238E27FC236}">
                  <a16:creationId xmlns:a16="http://schemas.microsoft.com/office/drawing/2014/main" id="{6F46E6C9-BF1F-422B-A2C8-8E52BF2243C2}"/>
                </a:ext>
              </a:extLst>
            </p:cNvPr>
            <p:cNvSpPr/>
            <p:nvPr/>
          </p:nvSpPr>
          <p:spPr>
            <a:xfrm>
              <a:off x="3007972" y="6213531"/>
              <a:ext cx="2917599" cy="340973"/>
            </a:xfrm>
            <a:prstGeom prst="ellipse">
              <a:avLst/>
            </a:prstGeom>
            <a:solidFill>
              <a:schemeClr val="tx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id="{D2BFA029-ED19-412D-A80F-970705F0C4FA}"/>
                </a:ext>
              </a:extLst>
            </p:cNvPr>
            <p:cNvGrpSpPr/>
            <p:nvPr/>
          </p:nvGrpSpPr>
          <p:grpSpPr>
            <a:xfrm>
              <a:off x="2820309" y="378736"/>
              <a:ext cx="3654564" cy="6005282"/>
              <a:chOff x="2820309" y="378736"/>
              <a:chExt cx="3654564" cy="6005282"/>
            </a:xfrm>
          </p:grpSpPr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E7EB20DA-0150-4ECE-8A2F-1EE0FD059659}"/>
                  </a:ext>
                </a:extLst>
              </p:cNvPr>
              <p:cNvSpPr/>
              <p:nvPr/>
            </p:nvSpPr>
            <p:spPr>
              <a:xfrm>
                <a:off x="3147673" y="871875"/>
                <a:ext cx="2892653" cy="2892653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3541AB55-8016-4F6F-96A5-08F3A0BBCB73}"/>
                  </a:ext>
                </a:extLst>
              </p:cNvPr>
              <p:cNvSpPr/>
              <p:nvPr/>
            </p:nvSpPr>
            <p:spPr>
              <a:xfrm>
                <a:off x="3922657" y="2642142"/>
                <a:ext cx="745216" cy="745216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12" name="Group 111">
                <a:extLst>
                  <a:ext uri="{FF2B5EF4-FFF2-40B4-BE49-F238E27FC236}">
                    <a16:creationId xmlns:a16="http://schemas.microsoft.com/office/drawing/2014/main" id="{6F82C29F-60A4-46A1-9F5D-B502E87CD612}"/>
                  </a:ext>
                </a:extLst>
              </p:cNvPr>
              <p:cNvGrpSpPr/>
              <p:nvPr/>
            </p:nvGrpSpPr>
            <p:grpSpPr>
              <a:xfrm>
                <a:off x="3439887" y="473982"/>
                <a:ext cx="2026556" cy="5910036"/>
                <a:chOff x="7271658" y="947964"/>
                <a:chExt cx="2026556" cy="5910036"/>
              </a:xfrm>
            </p:grpSpPr>
            <p:grpSp>
              <p:nvGrpSpPr>
                <p:cNvPr id="125" name="Group 124">
                  <a:extLst>
                    <a:ext uri="{FF2B5EF4-FFF2-40B4-BE49-F238E27FC236}">
                      <a16:creationId xmlns:a16="http://schemas.microsoft.com/office/drawing/2014/main" id="{D554712B-7D0D-4922-AC8A-699DC502C840}"/>
                    </a:ext>
                  </a:extLst>
                </p:cNvPr>
                <p:cNvGrpSpPr/>
                <p:nvPr/>
              </p:nvGrpSpPr>
              <p:grpSpPr>
                <a:xfrm>
                  <a:off x="8069943" y="2324100"/>
                  <a:ext cx="457200" cy="4533900"/>
                  <a:chOff x="8069943" y="2324100"/>
                  <a:chExt cx="457200" cy="4533900"/>
                </a:xfrm>
              </p:grpSpPr>
              <p:sp>
                <p:nvSpPr>
                  <p:cNvPr id="130" name="Freeform: Shape 129">
                    <a:extLst>
                      <a:ext uri="{FF2B5EF4-FFF2-40B4-BE49-F238E27FC236}">
                        <a16:creationId xmlns:a16="http://schemas.microsoft.com/office/drawing/2014/main" id="{EB980AA7-1036-42E7-9C78-9345010DF33A}"/>
                      </a:ext>
                    </a:extLst>
                  </p:cNvPr>
                  <p:cNvSpPr/>
                  <p:nvPr/>
                </p:nvSpPr>
                <p:spPr>
                  <a:xfrm>
                    <a:off x="8298543" y="2324100"/>
                    <a:ext cx="228600" cy="4533900"/>
                  </a:xfrm>
                  <a:custGeom>
                    <a:avLst/>
                    <a:gdLst>
                      <a:gd name="connsiteX0" fmla="*/ 0 w 228600"/>
                      <a:gd name="connsiteY0" fmla="*/ 0 h 4533900"/>
                      <a:gd name="connsiteX1" fmla="*/ 114300 w 228600"/>
                      <a:gd name="connsiteY1" fmla="*/ 0 h 4533900"/>
                      <a:gd name="connsiteX2" fmla="*/ 228600 w 228600"/>
                      <a:gd name="connsiteY2" fmla="*/ 4533900 h 4533900"/>
                      <a:gd name="connsiteX3" fmla="*/ 0 w 228600"/>
                      <a:gd name="connsiteY3" fmla="*/ 4533900 h 4533900"/>
                      <a:gd name="connsiteX4" fmla="*/ 0 w 228600"/>
                      <a:gd name="connsiteY4" fmla="*/ 0 h 4533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8600" h="4533900">
                        <a:moveTo>
                          <a:pt x="0" y="0"/>
                        </a:moveTo>
                        <a:lnTo>
                          <a:pt x="114300" y="0"/>
                        </a:lnTo>
                        <a:lnTo>
                          <a:pt x="228600" y="4533900"/>
                        </a:lnTo>
                        <a:lnTo>
                          <a:pt x="0" y="453390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31" name="Freeform: Shape 130">
                    <a:extLst>
                      <a:ext uri="{FF2B5EF4-FFF2-40B4-BE49-F238E27FC236}">
                        <a16:creationId xmlns:a16="http://schemas.microsoft.com/office/drawing/2014/main" id="{59DFA0FC-AD88-4D7A-B41E-F25C7DFC8EB2}"/>
                      </a:ext>
                    </a:extLst>
                  </p:cNvPr>
                  <p:cNvSpPr/>
                  <p:nvPr/>
                </p:nvSpPr>
                <p:spPr>
                  <a:xfrm>
                    <a:off x="8069943" y="2324100"/>
                    <a:ext cx="228600" cy="4533900"/>
                  </a:xfrm>
                  <a:custGeom>
                    <a:avLst/>
                    <a:gdLst>
                      <a:gd name="connsiteX0" fmla="*/ 114300 w 228600"/>
                      <a:gd name="connsiteY0" fmla="*/ 0 h 4533900"/>
                      <a:gd name="connsiteX1" fmla="*/ 228600 w 228600"/>
                      <a:gd name="connsiteY1" fmla="*/ 0 h 4533900"/>
                      <a:gd name="connsiteX2" fmla="*/ 228600 w 228600"/>
                      <a:gd name="connsiteY2" fmla="*/ 4533900 h 4533900"/>
                      <a:gd name="connsiteX3" fmla="*/ 0 w 228600"/>
                      <a:gd name="connsiteY3" fmla="*/ 4533900 h 4533900"/>
                      <a:gd name="connsiteX4" fmla="*/ 114300 w 228600"/>
                      <a:gd name="connsiteY4" fmla="*/ 0 h 4533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8600" h="4533900">
                        <a:moveTo>
                          <a:pt x="114300" y="0"/>
                        </a:moveTo>
                        <a:lnTo>
                          <a:pt x="228600" y="0"/>
                        </a:lnTo>
                        <a:lnTo>
                          <a:pt x="228600" y="4533900"/>
                        </a:lnTo>
                        <a:lnTo>
                          <a:pt x="0" y="4533900"/>
                        </a:lnTo>
                        <a:lnTo>
                          <a:pt x="114300" y="0"/>
                        </a:lnTo>
                        <a:close/>
                      </a:path>
                    </a:pathLst>
                  </a:custGeom>
                  <a:solidFill>
                    <a:schemeClr val="accent2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126" name="Block Arc 125">
                  <a:extLst>
                    <a:ext uri="{FF2B5EF4-FFF2-40B4-BE49-F238E27FC236}">
                      <a16:creationId xmlns:a16="http://schemas.microsoft.com/office/drawing/2014/main" id="{C40D45B8-C4FB-451C-A83B-1264DA285765}"/>
                    </a:ext>
                  </a:extLst>
                </p:cNvPr>
                <p:cNvSpPr/>
                <p:nvPr/>
              </p:nvSpPr>
              <p:spPr>
                <a:xfrm rot="16200000">
                  <a:off x="7271658" y="2061029"/>
                  <a:ext cx="1770743" cy="1770743"/>
                </a:xfrm>
                <a:prstGeom prst="blockArc">
                  <a:avLst>
                    <a:gd name="adj1" fmla="val 10800000"/>
                    <a:gd name="adj2" fmla="val 16234411"/>
                    <a:gd name="adj3" fmla="val 9014"/>
                  </a:avLst>
                </a:pr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27" name="Block Arc 126">
                  <a:extLst>
                    <a:ext uri="{FF2B5EF4-FFF2-40B4-BE49-F238E27FC236}">
                      <a16:creationId xmlns:a16="http://schemas.microsoft.com/office/drawing/2014/main" id="{18CDE50D-7EF1-4567-AE28-E331343B5787}"/>
                    </a:ext>
                  </a:extLst>
                </p:cNvPr>
                <p:cNvSpPr/>
                <p:nvPr/>
              </p:nvSpPr>
              <p:spPr>
                <a:xfrm rot="16200000">
                  <a:off x="7300686" y="947964"/>
                  <a:ext cx="1770743" cy="1770743"/>
                </a:xfrm>
                <a:prstGeom prst="blockArc">
                  <a:avLst>
                    <a:gd name="adj1" fmla="val 10800000"/>
                    <a:gd name="adj2" fmla="val 16234411"/>
                    <a:gd name="adj3" fmla="val 9014"/>
                  </a:avLst>
                </a:pr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28" name="Block Arc 127">
                  <a:extLst>
                    <a:ext uri="{FF2B5EF4-FFF2-40B4-BE49-F238E27FC236}">
                      <a16:creationId xmlns:a16="http://schemas.microsoft.com/office/drawing/2014/main" id="{8C77714D-B725-4B4B-ADFF-0932A03478EA}"/>
                    </a:ext>
                  </a:extLst>
                </p:cNvPr>
                <p:cNvSpPr/>
                <p:nvPr/>
              </p:nvSpPr>
              <p:spPr>
                <a:xfrm rot="5400000" flipH="1">
                  <a:off x="7527471" y="2669268"/>
                  <a:ext cx="1770743" cy="1770743"/>
                </a:xfrm>
                <a:prstGeom prst="blockArc">
                  <a:avLst>
                    <a:gd name="adj1" fmla="val 10800000"/>
                    <a:gd name="adj2" fmla="val 16234411"/>
                    <a:gd name="adj3" fmla="val 9014"/>
                  </a:avLst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29" name="Block Arc 128">
                  <a:extLst>
                    <a:ext uri="{FF2B5EF4-FFF2-40B4-BE49-F238E27FC236}">
                      <a16:creationId xmlns:a16="http://schemas.microsoft.com/office/drawing/2014/main" id="{2AE2B373-3177-4FA0-9B0D-9F8B30880A73}"/>
                    </a:ext>
                  </a:extLst>
                </p:cNvPr>
                <p:cNvSpPr/>
                <p:nvPr/>
              </p:nvSpPr>
              <p:spPr>
                <a:xfrm rot="5400000" flipH="1">
                  <a:off x="7527471" y="1544411"/>
                  <a:ext cx="1770743" cy="1770743"/>
                </a:xfrm>
                <a:prstGeom prst="blockArc">
                  <a:avLst>
                    <a:gd name="adj1" fmla="val 10800000"/>
                    <a:gd name="adj2" fmla="val 16234411"/>
                    <a:gd name="adj3" fmla="val 9014"/>
                  </a:avLst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13" name="Group 112">
                <a:extLst>
                  <a:ext uri="{FF2B5EF4-FFF2-40B4-BE49-F238E27FC236}">
                    <a16:creationId xmlns:a16="http://schemas.microsoft.com/office/drawing/2014/main" id="{FC637045-7870-49DF-9A67-F1C7B93F40CB}"/>
                  </a:ext>
                </a:extLst>
              </p:cNvPr>
              <p:cNvGrpSpPr/>
              <p:nvPr/>
            </p:nvGrpSpPr>
            <p:grpSpPr>
              <a:xfrm>
                <a:off x="2820309" y="1647146"/>
                <a:ext cx="1307872" cy="1307872"/>
                <a:chOff x="3193143" y="1833336"/>
                <a:chExt cx="2757714" cy="2757714"/>
              </a:xfrm>
            </p:grpSpPr>
            <p:sp>
              <p:nvSpPr>
                <p:cNvPr id="123" name="Freeform: Shape 122">
                  <a:extLst>
                    <a:ext uri="{FF2B5EF4-FFF2-40B4-BE49-F238E27FC236}">
                      <a16:creationId xmlns:a16="http://schemas.microsoft.com/office/drawing/2014/main" id="{E291A66F-694E-4BC3-A90A-710974B659D9}"/>
                    </a:ext>
                  </a:extLst>
                </p:cNvPr>
                <p:cNvSpPr/>
                <p:nvPr/>
              </p:nvSpPr>
              <p:spPr>
                <a:xfrm>
                  <a:off x="4572000" y="1833336"/>
                  <a:ext cx="1378857" cy="2757714"/>
                </a:xfrm>
                <a:custGeom>
                  <a:avLst/>
                  <a:gdLst>
                    <a:gd name="connsiteX0" fmla="*/ 0 w 1378857"/>
                    <a:gd name="connsiteY0" fmla="*/ 0 h 2757714"/>
                    <a:gd name="connsiteX1" fmla="*/ 1378857 w 1378857"/>
                    <a:gd name="connsiteY1" fmla="*/ 1378857 h 2757714"/>
                    <a:gd name="connsiteX2" fmla="*/ 0 w 1378857"/>
                    <a:gd name="connsiteY2" fmla="*/ 2757714 h 2757714"/>
                    <a:gd name="connsiteX3" fmla="*/ 0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0" y="0"/>
                      </a:moveTo>
                      <a:cubicBezTo>
                        <a:pt x="761522" y="0"/>
                        <a:pt x="1378857" y="617335"/>
                        <a:pt x="1378857" y="1378857"/>
                      </a:cubicBezTo>
                      <a:cubicBezTo>
                        <a:pt x="1378857" y="2140379"/>
                        <a:pt x="761522" y="2757714"/>
                        <a:pt x="0" y="275771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24" name="Freeform: Shape 123">
                  <a:extLst>
                    <a:ext uri="{FF2B5EF4-FFF2-40B4-BE49-F238E27FC236}">
                      <a16:creationId xmlns:a16="http://schemas.microsoft.com/office/drawing/2014/main" id="{ED03B3A0-1D12-4F21-8A52-C9A5553115A7}"/>
                    </a:ext>
                  </a:extLst>
                </p:cNvPr>
                <p:cNvSpPr/>
                <p:nvPr/>
              </p:nvSpPr>
              <p:spPr>
                <a:xfrm>
                  <a:off x="3193143" y="1833336"/>
                  <a:ext cx="1378857" cy="2757714"/>
                </a:xfrm>
                <a:custGeom>
                  <a:avLst/>
                  <a:gdLst>
                    <a:gd name="connsiteX0" fmla="*/ 1378857 w 1378857"/>
                    <a:gd name="connsiteY0" fmla="*/ 0 h 2757714"/>
                    <a:gd name="connsiteX1" fmla="*/ 1378857 w 1378857"/>
                    <a:gd name="connsiteY1" fmla="*/ 2757714 h 2757714"/>
                    <a:gd name="connsiteX2" fmla="*/ 0 w 1378857"/>
                    <a:gd name="connsiteY2" fmla="*/ 1378857 h 2757714"/>
                    <a:gd name="connsiteX3" fmla="*/ 1378857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1378857" y="0"/>
                      </a:moveTo>
                      <a:lnTo>
                        <a:pt x="1378857" y="2757714"/>
                      </a:lnTo>
                      <a:cubicBezTo>
                        <a:pt x="617335" y="2757714"/>
                        <a:pt x="0" y="2140379"/>
                        <a:pt x="0" y="1378857"/>
                      </a:cubicBezTo>
                      <a:cubicBezTo>
                        <a:pt x="0" y="617335"/>
                        <a:pt x="617335" y="0"/>
                        <a:pt x="1378857" y="0"/>
                      </a:cubicBez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14" name="Group 113">
                <a:extLst>
                  <a:ext uri="{FF2B5EF4-FFF2-40B4-BE49-F238E27FC236}">
                    <a16:creationId xmlns:a16="http://schemas.microsoft.com/office/drawing/2014/main" id="{B835BAA6-874B-4234-ADCB-8C49EB5483A5}"/>
                  </a:ext>
                </a:extLst>
              </p:cNvPr>
              <p:cNvGrpSpPr/>
              <p:nvPr/>
            </p:nvGrpSpPr>
            <p:grpSpPr>
              <a:xfrm>
                <a:off x="3242130" y="674802"/>
                <a:ext cx="1307872" cy="1307872"/>
                <a:chOff x="3193143" y="1833336"/>
                <a:chExt cx="2757714" cy="2757714"/>
              </a:xfrm>
            </p:grpSpPr>
            <p:sp>
              <p:nvSpPr>
                <p:cNvPr id="121" name="Freeform: Shape 120">
                  <a:extLst>
                    <a:ext uri="{FF2B5EF4-FFF2-40B4-BE49-F238E27FC236}">
                      <a16:creationId xmlns:a16="http://schemas.microsoft.com/office/drawing/2014/main" id="{69E18354-AA37-4470-9AA0-A78B185F445B}"/>
                    </a:ext>
                  </a:extLst>
                </p:cNvPr>
                <p:cNvSpPr/>
                <p:nvPr/>
              </p:nvSpPr>
              <p:spPr>
                <a:xfrm>
                  <a:off x="4572000" y="1833336"/>
                  <a:ext cx="1378857" cy="2757714"/>
                </a:xfrm>
                <a:custGeom>
                  <a:avLst/>
                  <a:gdLst>
                    <a:gd name="connsiteX0" fmla="*/ 0 w 1378857"/>
                    <a:gd name="connsiteY0" fmla="*/ 0 h 2757714"/>
                    <a:gd name="connsiteX1" fmla="*/ 1378857 w 1378857"/>
                    <a:gd name="connsiteY1" fmla="*/ 1378857 h 2757714"/>
                    <a:gd name="connsiteX2" fmla="*/ 0 w 1378857"/>
                    <a:gd name="connsiteY2" fmla="*/ 2757714 h 2757714"/>
                    <a:gd name="connsiteX3" fmla="*/ 0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0" y="0"/>
                      </a:moveTo>
                      <a:cubicBezTo>
                        <a:pt x="761522" y="0"/>
                        <a:pt x="1378857" y="617335"/>
                        <a:pt x="1378857" y="1378857"/>
                      </a:cubicBezTo>
                      <a:cubicBezTo>
                        <a:pt x="1378857" y="2140379"/>
                        <a:pt x="761522" y="2757714"/>
                        <a:pt x="0" y="275771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22" name="Freeform: Shape 121">
                  <a:extLst>
                    <a:ext uri="{FF2B5EF4-FFF2-40B4-BE49-F238E27FC236}">
                      <a16:creationId xmlns:a16="http://schemas.microsoft.com/office/drawing/2014/main" id="{B9A934EA-C9B7-4B6B-A6A1-E36203897A3B}"/>
                    </a:ext>
                  </a:extLst>
                </p:cNvPr>
                <p:cNvSpPr/>
                <p:nvPr/>
              </p:nvSpPr>
              <p:spPr>
                <a:xfrm>
                  <a:off x="3193143" y="1833336"/>
                  <a:ext cx="1378857" cy="2757714"/>
                </a:xfrm>
                <a:custGeom>
                  <a:avLst/>
                  <a:gdLst>
                    <a:gd name="connsiteX0" fmla="*/ 1378857 w 1378857"/>
                    <a:gd name="connsiteY0" fmla="*/ 0 h 2757714"/>
                    <a:gd name="connsiteX1" fmla="*/ 1378857 w 1378857"/>
                    <a:gd name="connsiteY1" fmla="*/ 2757714 h 2757714"/>
                    <a:gd name="connsiteX2" fmla="*/ 0 w 1378857"/>
                    <a:gd name="connsiteY2" fmla="*/ 1378857 h 2757714"/>
                    <a:gd name="connsiteX3" fmla="*/ 1378857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1378857" y="0"/>
                      </a:moveTo>
                      <a:lnTo>
                        <a:pt x="1378857" y="2757714"/>
                      </a:lnTo>
                      <a:cubicBezTo>
                        <a:pt x="617335" y="2757714"/>
                        <a:pt x="0" y="2140379"/>
                        <a:pt x="0" y="1378857"/>
                      </a:cubicBezTo>
                      <a:cubicBezTo>
                        <a:pt x="0" y="617335"/>
                        <a:pt x="617335" y="0"/>
                        <a:pt x="1378857" y="0"/>
                      </a:cubicBez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15" name="Group 114">
                <a:extLst>
                  <a:ext uri="{FF2B5EF4-FFF2-40B4-BE49-F238E27FC236}">
                    <a16:creationId xmlns:a16="http://schemas.microsoft.com/office/drawing/2014/main" id="{1406CA2E-7682-466D-BA52-8ECE1FF143A2}"/>
                  </a:ext>
                </a:extLst>
              </p:cNvPr>
              <p:cNvGrpSpPr/>
              <p:nvPr/>
            </p:nvGrpSpPr>
            <p:grpSpPr>
              <a:xfrm>
                <a:off x="4972506" y="2589893"/>
                <a:ext cx="933447" cy="933447"/>
                <a:chOff x="3193143" y="1833336"/>
                <a:chExt cx="2757714" cy="2757714"/>
              </a:xfrm>
            </p:grpSpPr>
            <p:sp>
              <p:nvSpPr>
                <p:cNvPr id="119" name="Freeform: Shape 118">
                  <a:extLst>
                    <a:ext uri="{FF2B5EF4-FFF2-40B4-BE49-F238E27FC236}">
                      <a16:creationId xmlns:a16="http://schemas.microsoft.com/office/drawing/2014/main" id="{00F7888D-FD92-4F0C-A16F-4E1FAD9BE14F}"/>
                    </a:ext>
                  </a:extLst>
                </p:cNvPr>
                <p:cNvSpPr/>
                <p:nvPr/>
              </p:nvSpPr>
              <p:spPr>
                <a:xfrm>
                  <a:off x="4572000" y="1833336"/>
                  <a:ext cx="1378857" cy="2757714"/>
                </a:xfrm>
                <a:custGeom>
                  <a:avLst/>
                  <a:gdLst>
                    <a:gd name="connsiteX0" fmla="*/ 0 w 1378857"/>
                    <a:gd name="connsiteY0" fmla="*/ 0 h 2757714"/>
                    <a:gd name="connsiteX1" fmla="*/ 1378857 w 1378857"/>
                    <a:gd name="connsiteY1" fmla="*/ 1378857 h 2757714"/>
                    <a:gd name="connsiteX2" fmla="*/ 0 w 1378857"/>
                    <a:gd name="connsiteY2" fmla="*/ 2757714 h 2757714"/>
                    <a:gd name="connsiteX3" fmla="*/ 0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0" y="0"/>
                      </a:moveTo>
                      <a:cubicBezTo>
                        <a:pt x="761522" y="0"/>
                        <a:pt x="1378857" y="617335"/>
                        <a:pt x="1378857" y="1378857"/>
                      </a:cubicBezTo>
                      <a:cubicBezTo>
                        <a:pt x="1378857" y="2140379"/>
                        <a:pt x="761522" y="2757714"/>
                        <a:pt x="0" y="275771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20" name="Freeform: Shape 119">
                  <a:extLst>
                    <a:ext uri="{FF2B5EF4-FFF2-40B4-BE49-F238E27FC236}">
                      <a16:creationId xmlns:a16="http://schemas.microsoft.com/office/drawing/2014/main" id="{4827CD48-5E4A-4882-B47D-ACD0D7D2E9B2}"/>
                    </a:ext>
                  </a:extLst>
                </p:cNvPr>
                <p:cNvSpPr/>
                <p:nvPr/>
              </p:nvSpPr>
              <p:spPr>
                <a:xfrm>
                  <a:off x="3193143" y="1833336"/>
                  <a:ext cx="1378857" cy="2757714"/>
                </a:xfrm>
                <a:custGeom>
                  <a:avLst/>
                  <a:gdLst>
                    <a:gd name="connsiteX0" fmla="*/ 1378857 w 1378857"/>
                    <a:gd name="connsiteY0" fmla="*/ 0 h 2757714"/>
                    <a:gd name="connsiteX1" fmla="*/ 1378857 w 1378857"/>
                    <a:gd name="connsiteY1" fmla="*/ 2757714 h 2757714"/>
                    <a:gd name="connsiteX2" fmla="*/ 0 w 1378857"/>
                    <a:gd name="connsiteY2" fmla="*/ 1378857 h 2757714"/>
                    <a:gd name="connsiteX3" fmla="*/ 1378857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1378857" y="0"/>
                      </a:moveTo>
                      <a:lnTo>
                        <a:pt x="1378857" y="2757714"/>
                      </a:lnTo>
                      <a:cubicBezTo>
                        <a:pt x="617335" y="2757714"/>
                        <a:pt x="0" y="2140379"/>
                        <a:pt x="0" y="1378857"/>
                      </a:cubicBezTo>
                      <a:cubicBezTo>
                        <a:pt x="0" y="617335"/>
                        <a:pt x="617335" y="0"/>
                        <a:pt x="1378857" y="0"/>
                      </a:cubicBez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16" name="Group 115">
                <a:extLst>
                  <a:ext uri="{FF2B5EF4-FFF2-40B4-BE49-F238E27FC236}">
                    <a16:creationId xmlns:a16="http://schemas.microsoft.com/office/drawing/2014/main" id="{975D1286-AFA5-46FF-B0BB-EE3C51ED558E}"/>
                  </a:ext>
                </a:extLst>
              </p:cNvPr>
              <p:cNvGrpSpPr/>
              <p:nvPr/>
            </p:nvGrpSpPr>
            <p:grpSpPr>
              <a:xfrm>
                <a:off x="4194006" y="378736"/>
                <a:ext cx="2280867" cy="2280867"/>
                <a:chOff x="3193144" y="1833336"/>
                <a:chExt cx="2757714" cy="2757714"/>
              </a:xfrm>
            </p:grpSpPr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F805A444-D212-438D-83EC-3F32B9FA1A91}"/>
                    </a:ext>
                  </a:extLst>
                </p:cNvPr>
                <p:cNvSpPr/>
                <p:nvPr/>
              </p:nvSpPr>
              <p:spPr>
                <a:xfrm>
                  <a:off x="4572001" y="1833336"/>
                  <a:ext cx="1378857" cy="2757714"/>
                </a:xfrm>
                <a:custGeom>
                  <a:avLst/>
                  <a:gdLst>
                    <a:gd name="connsiteX0" fmla="*/ 0 w 1378857"/>
                    <a:gd name="connsiteY0" fmla="*/ 0 h 2757714"/>
                    <a:gd name="connsiteX1" fmla="*/ 1378857 w 1378857"/>
                    <a:gd name="connsiteY1" fmla="*/ 1378857 h 2757714"/>
                    <a:gd name="connsiteX2" fmla="*/ 0 w 1378857"/>
                    <a:gd name="connsiteY2" fmla="*/ 2757714 h 2757714"/>
                    <a:gd name="connsiteX3" fmla="*/ 0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0" y="0"/>
                      </a:moveTo>
                      <a:cubicBezTo>
                        <a:pt x="761522" y="0"/>
                        <a:pt x="1378857" y="617335"/>
                        <a:pt x="1378857" y="1378857"/>
                      </a:cubicBezTo>
                      <a:cubicBezTo>
                        <a:pt x="1378857" y="2140379"/>
                        <a:pt x="761522" y="2757714"/>
                        <a:pt x="0" y="275771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C0D0EA0A-2E11-4F6D-95F3-1D1D7E893809}"/>
                    </a:ext>
                  </a:extLst>
                </p:cNvPr>
                <p:cNvSpPr/>
                <p:nvPr/>
              </p:nvSpPr>
              <p:spPr>
                <a:xfrm>
                  <a:off x="3193144" y="1833336"/>
                  <a:ext cx="1378857" cy="2757714"/>
                </a:xfrm>
                <a:custGeom>
                  <a:avLst/>
                  <a:gdLst>
                    <a:gd name="connsiteX0" fmla="*/ 1378857 w 1378857"/>
                    <a:gd name="connsiteY0" fmla="*/ 0 h 2757714"/>
                    <a:gd name="connsiteX1" fmla="*/ 1378857 w 1378857"/>
                    <a:gd name="connsiteY1" fmla="*/ 2757714 h 2757714"/>
                    <a:gd name="connsiteX2" fmla="*/ 0 w 1378857"/>
                    <a:gd name="connsiteY2" fmla="*/ 1378857 h 2757714"/>
                    <a:gd name="connsiteX3" fmla="*/ 1378857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1378857" y="0"/>
                      </a:moveTo>
                      <a:lnTo>
                        <a:pt x="1378857" y="2757714"/>
                      </a:lnTo>
                      <a:cubicBezTo>
                        <a:pt x="617335" y="2757714"/>
                        <a:pt x="0" y="2140379"/>
                        <a:pt x="0" y="1378857"/>
                      </a:cubicBezTo>
                      <a:cubicBezTo>
                        <a:pt x="0" y="617335"/>
                        <a:pt x="617335" y="0"/>
                        <a:pt x="1378857" y="0"/>
                      </a:cubicBez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38B88B2E-2B01-479C-BA38-2D95952A21DE}"/>
              </a:ext>
            </a:extLst>
          </p:cNvPr>
          <p:cNvGrpSpPr/>
          <p:nvPr/>
        </p:nvGrpSpPr>
        <p:grpSpPr>
          <a:xfrm>
            <a:off x="5516285" y="5993350"/>
            <a:ext cx="894016" cy="567517"/>
            <a:chOff x="5039917" y="4959547"/>
            <a:chExt cx="751283" cy="476911"/>
          </a:xfrm>
        </p:grpSpPr>
        <p:sp>
          <p:nvSpPr>
            <p:cNvPr id="133" name="Oval 132">
              <a:extLst>
                <a:ext uri="{FF2B5EF4-FFF2-40B4-BE49-F238E27FC236}">
                  <a16:creationId xmlns:a16="http://schemas.microsoft.com/office/drawing/2014/main" id="{F92544E9-6E4B-4882-847C-261364F477F5}"/>
                </a:ext>
              </a:extLst>
            </p:cNvPr>
            <p:cNvSpPr/>
            <p:nvPr/>
          </p:nvSpPr>
          <p:spPr>
            <a:xfrm>
              <a:off x="5066985" y="5276924"/>
              <a:ext cx="724215" cy="159534"/>
            </a:xfrm>
            <a:prstGeom prst="ellipse">
              <a:avLst/>
            </a:prstGeom>
            <a:solidFill>
              <a:schemeClr val="tx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34" name="Group 133">
              <a:extLst>
                <a:ext uri="{FF2B5EF4-FFF2-40B4-BE49-F238E27FC236}">
                  <a16:creationId xmlns:a16="http://schemas.microsoft.com/office/drawing/2014/main" id="{0E660957-4FBB-4AE6-BAD8-FC5E9EA0666A}"/>
                </a:ext>
              </a:extLst>
            </p:cNvPr>
            <p:cNvGrpSpPr/>
            <p:nvPr/>
          </p:nvGrpSpPr>
          <p:grpSpPr>
            <a:xfrm>
              <a:off x="5039917" y="4959547"/>
              <a:ext cx="650631" cy="432841"/>
              <a:chOff x="5039917" y="4959547"/>
              <a:chExt cx="650631" cy="432841"/>
            </a:xfrm>
          </p:grpSpPr>
          <p:sp>
            <p:nvSpPr>
              <p:cNvPr id="135" name="Freeform: Shape 134">
                <a:extLst>
                  <a:ext uri="{FF2B5EF4-FFF2-40B4-BE49-F238E27FC236}">
                    <a16:creationId xmlns:a16="http://schemas.microsoft.com/office/drawing/2014/main" id="{56E908F8-B7A2-42F3-8A58-B503B3A90735}"/>
                  </a:ext>
                </a:extLst>
              </p:cNvPr>
              <p:cNvSpPr/>
              <p:nvPr/>
            </p:nvSpPr>
            <p:spPr>
              <a:xfrm>
                <a:off x="5039917" y="4959547"/>
                <a:ext cx="650631" cy="290048"/>
              </a:xfrm>
              <a:custGeom>
                <a:avLst/>
                <a:gdLst>
                  <a:gd name="connsiteX0" fmla="*/ 409255 w 650631"/>
                  <a:gd name="connsiteY0" fmla="*/ 0 h 290048"/>
                  <a:gd name="connsiteX1" fmla="*/ 418065 w 650631"/>
                  <a:gd name="connsiteY1" fmla="*/ 815 h 290048"/>
                  <a:gd name="connsiteX2" fmla="*/ 435414 w 650631"/>
                  <a:gd name="connsiteY2" fmla="*/ 3531 h 290048"/>
                  <a:gd name="connsiteX3" fmla="*/ 448968 w 650631"/>
                  <a:gd name="connsiteY3" fmla="*/ 5704 h 290048"/>
                  <a:gd name="connsiteX4" fmla="*/ 467401 w 650631"/>
                  <a:gd name="connsiteY4" fmla="*/ 4618 h 290048"/>
                  <a:gd name="connsiteX5" fmla="*/ 487461 w 650631"/>
                  <a:gd name="connsiteY5" fmla="*/ 6791 h 290048"/>
                  <a:gd name="connsiteX6" fmla="*/ 549266 w 650631"/>
                  <a:gd name="connsiteY6" fmla="*/ 1358 h 290048"/>
                  <a:gd name="connsiteX7" fmla="*/ 607276 w 650631"/>
                  <a:gd name="connsiteY7" fmla="*/ 4074 h 290048"/>
                  <a:gd name="connsiteX8" fmla="*/ 649022 w 650631"/>
                  <a:gd name="connsiteY8" fmla="*/ 37214 h 290048"/>
                  <a:gd name="connsiteX9" fmla="*/ 646853 w 650631"/>
                  <a:gd name="connsiteY9" fmla="*/ 81219 h 290048"/>
                  <a:gd name="connsiteX10" fmla="*/ 641974 w 650631"/>
                  <a:gd name="connsiteY10" fmla="*/ 101320 h 290048"/>
                  <a:gd name="connsiteX11" fmla="*/ 636552 w 650631"/>
                  <a:gd name="connsiteY11" fmla="*/ 119791 h 290048"/>
                  <a:gd name="connsiteX12" fmla="*/ 630047 w 650631"/>
                  <a:gd name="connsiteY12" fmla="*/ 159450 h 290048"/>
                  <a:gd name="connsiteX13" fmla="*/ 630589 w 650631"/>
                  <a:gd name="connsiteY13" fmla="*/ 182810 h 290048"/>
                  <a:gd name="connsiteX14" fmla="*/ 638823 w 650631"/>
                  <a:gd name="connsiteY14" fmla="*/ 216272 h 290048"/>
                  <a:gd name="connsiteX15" fmla="*/ 639944 w 650631"/>
                  <a:gd name="connsiteY15" fmla="*/ 225701 h 290048"/>
                  <a:gd name="connsiteX16" fmla="*/ 637858 w 650631"/>
                  <a:gd name="connsiteY16" fmla="*/ 227616 h 290048"/>
                  <a:gd name="connsiteX17" fmla="*/ 622696 w 650631"/>
                  <a:gd name="connsiteY17" fmla="*/ 238722 h 290048"/>
                  <a:gd name="connsiteX18" fmla="*/ 567927 w 650631"/>
                  <a:gd name="connsiteY18" fmla="*/ 257772 h 290048"/>
                  <a:gd name="connsiteX19" fmla="*/ 556021 w 650631"/>
                  <a:gd name="connsiteY19" fmla="*/ 265065 h 290048"/>
                  <a:gd name="connsiteX20" fmla="*/ 551077 w 650631"/>
                  <a:gd name="connsiteY20" fmla="*/ 271554 h 290048"/>
                  <a:gd name="connsiteX21" fmla="*/ 549266 w 650631"/>
                  <a:gd name="connsiteY21" fmla="*/ 267017 h 290048"/>
                  <a:gd name="connsiteX22" fmla="*/ 527038 w 650631"/>
                  <a:gd name="connsiteY22" fmla="*/ 288748 h 290048"/>
                  <a:gd name="connsiteX23" fmla="*/ 529206 w 650631"/>
                  <a:gd name="connsiteY23" fmla="*/ 289291 h 290048"/>
                  <a:gd name="connsiteX24" fmla="*/ 522701 w 650631"/>
                  <a:gd name="connsiteY24" fmla="*/ 288748 h 290048"/>
                  <a:gd name="connsiteX25" fmla="*/ 521616 w 650631"/>
                  <a:gd name="connsiteY25" fmla="*/ 278969 h 290048"/>
                  <a:gd name="connsiteX26" fmla="*/ 518363 w 650631"/>
                  <a:gd name="connsiteY26" fmla="*/ 275709 h 290048"/>
                  <a:gd name="connsiteX27" fmla="*/ 512942 w 650631"/>
                  <a:gd name="connsiteY27" fmla="*/ 255608 h 290048"/>
                  <a:gd name="connsiteX28" fmla="*/ 498304 w 650631"/>
                  <a:gd name="connsiteY28" fmla="*/ 233878 h 290048"/>
                  <a:gd name="connsiteX29" fmla="*/ 480955 w 650631"/>
                  <a:gd name="connsiteY29" fmla="*/ 244743 h 290048"/>
                  <a:gd name="connsiteX30" fmla="*/ 478786 w 650631"/>
                  <a:gd name="connsiteY30" fmla="*/ 246916 h 290048"/>
                  <a:gd name="connsiteX31" fmla="*/ 478786 w 650631"/>
                  <a:gd name="connsiteY31" fmla="*/ 244743 h 290048"/>
                  <a:gd name="connsiteX32" fmla="*/ 451679 w 650631"/>
                  <a:gd name="connsiteY32" fmla="*/ 256152 h 290048"/>
                  <a:gd name="connsiteX33" fmla="*/ 387163 w 650631"/>
                  <a:gd name="connsiteY33" fmla="*/ 262128 h 290048"/>
                  <a:gd name="connsiteX34" fmla="*/ 364934 w 650631"/>
                  <a:gd name="connsiteY34" fmla="*/ 257781 h 290048"/>
                  <a:gd name="connsiteX35" fmla="*/ 360055 w 650631"/>
                  <a:gd name="connsiteY35" fmla="*/ 256695 h 290048"/>
                  <a:gd name="connsiteX36" fmla="*/ 343791 w 650631"/>
                  <a:gd name="connsiteY36" fmla="*/ 253979 h 290048"/>
                  <a:gd name="connsiteX37" fmla="*/ 310719 w 650631"/>
                  <a:gd name="connsiteY37" fmla="*/ 246373 h 290048"/>
                  <a:gd name="connsiteX38" fmla="*/ 294455 w 650631"/>
                  <a:gd name="connsiteY38" fmla="*/ 242027 h 290048"/>
                  <a:gd name="connsiteX39" fmla="*/ 294896 w 650631"/>
                  <a:gd name="connsiteY39" fmla="*/ 245277 h 290048"/>
                  <a:gd name="connsiteX40" fmla="*/ 291702 w 650631"/>
                  <a:gd name="connsiteY40" fmla="*/ 243484 h 290048"/>
                  <a:gd name="connsiteX41" fmla="*/ 267889 w 650631"/>
                  <a:gd name="connsiteY41" fmla="*/ 238722 h 290048"/>
                  <a:gd name="connsiteX42" fmla="*/ 244077 w 650631"/>
                  <a:gd name="connsiteY42" fmla="*/ 243484 h 290048"/>
                  <a:gd name="connsiteX43" fmla="*/ 220264 w 650631"/>
                  <a:gd name="connsiteY43" fmla="*/ 260153 h 290048"/>
                  <a:gd name="connsiteX44" fmla="*/ 205456 w 650631"/>
                  <a:gd name="connsiteY44" fmla="*/ 265436 h 290048"/>
                  <a:gd name="connsiteX45" fmla="*/ 200557 w 650631"/>
                  <a:gd name="connsiteY45" fmla="*/ 266772 h 290048"/>
                  <a:gd name="connsiteX46" fmla="*/ 188439 w 650631"/>
                  <a:gd name="connsiteY46" fmla="*/ 264675 h 290048"/>
                  <a:gd name="connsiteX47" fmla="*/ 164881 w 650631"/>
                  <a:gd name="connsiteY47" fmla="*/ 239310 h 290048"/>
                  <a:gd name="connsiteX48" fmla="*/ 157290 w 650631"/>
                  <a:gd name="connsiteY48" fmla="*/ 233334 h 290048"/>
                  <a:gd name="connsiteX49" fmla="*/ 143194 w 650631"/>
                  <a:gd name="connsiteY49" fmla="*/ 215950 h 290048"/>
                  <a:gd name="connsiteX50" fmla="*/ 116629 w 650631"/>
                  <a:gd name="connsiteY50" fmla="*/ 215950 h 290048"/>
                  <a:gd name="connsiteX51" fmla="*/ 101449 w 650631"/>
                  <a:gd name="connsiteY51" fmla="*/ 231161 h 290048"/>
                  <a:gd name="connsiteX52" fmla="*/ 91556 w 650631"/>
                  <a:gd name="connsiteY52" fmla="*/ 236386 h 290048"/>
                  <a:gd name="connsiteX53" fmla="*/ 86766 w 650631"/>
                  <a:gd name="connsiteY53" fmla="*/ 222797 h 290048"/>
                  <a:gd name="connsiteX54" fmla="*/ 70246 w 650631"/>
                  <a:gd name="connsiteY54" fmla="*/ 207766 h 290048"/>
                  <a:gd name="connsiteX55" fmla="*/ 52982 w 650631"/>
                  <a:gd name="connsiteY55" fmla="*/ 203004 h 290048"/>
                  <a:gd name="connsiteX56" fmla="*/ 29006 w 650631"/>
                  <a:gd name="connsiteY56" fmla="*/ 207464 h 290048"/>
                  <a:gd name="connsiteX57" fmla="*/ 29546 w 650631"/>
                  <a:gd name="connsiteY57" fmla="*/ 202504 h 290048"/>
                  <a:gd name="connsiteX58" fmla="*/ 36933 w 650631"/>
                  <a:gd name="connsiteY58" fmla="*/ 194762 h 290048"/>
                  <a:gd name="connsiteX59" fmla="*/ 47776 w 650631"/>
                  <a:gd name="connsiteY59" fmla="*/ 182267 h 290048"/>
                  <a:gd name="connsiteX60" fmla="*/ 53197 w 650631"/>
                  <a:gd name="connsiteY60" fmla="*/ 155103 h 290048"/>
                  <a:gd name="connsiteX61" fmla="*/ 51571 w 650631"/>
                  <a:gd name="connsiteY61" fmla="*/ 145325 h 290048"/>
                  <a:gd name="connsiteX62" fmla="*/ 45607 w 650631"/>
                  <a:gd name="connsiteY62" fmla="*/ 126853 h 290048"/>
                  <a:gd name="connsiteX63" fmla="*/ 40728 w 650631"/>
                  <a:gd name="connsiteY63" fmla="*/ 121964 h 290048"/>
                  <a:gd name="connsiteX64" fmla="*/ 21210 w 650631"/>
                  <a:gd name="connsiteY64" fmla="*/ 118704 h 290048"/>
                  <a:gd name="connsiteX65" fmla="*/ 16331 w 650631"/>
                  <a:gd name="connsiteY65" fmla="*/ 113815 h 290048"/>
                  <a:gd name="connsiteX66" fmla="*/ 1151 w 650631"/>
                  <a:gd name="connsiteY66" fmla="*/ 82849 h 290048"/>
                  <a:gd name="connsiteX67" fmla="*/ 33138 w 650631"/>
                  <a:gd name="connsiteY67" fmla="*/ 77416 h 290048"/>
                  <a:gd name="connsiteX68" fmla="*/ 62956 w 650631"/>
                  <a:gd name="connsiteY68" fmla="*/ 90454 h 290048"/>
                  <a:gd name="connsiteX69" fmla="*/ 42896 w 650631"/>
                  <a:gd name="connsiteY69" fmla="*/ 68180 h 290048"/>
                  <a:gd name="connsiteX70" fmla="*/ 37475 w 650631"/>
                  <a:gd name="connsiteY70" fmla="*/ 62748 h 290048"/>
                  <a:gd name="connsiteX71" fmla="*/ 32053 w 650631"/>
                  <a:gd name="connsiteY71" fmla="*/ 28522 h 290048"/>
                  <a:gd name="connsiteX72" fmla="*/ 36933 w 650631"/>
                  <a:gd name="connsiteY72" fmla="*/ 28522 h 290048"/>
                  <a:gd name="connsiteX73" fmla="*/ 38017 w 650631"/>
                  <a:gd name="connsiteY73" fmla="*/ 34498 h 290048"/>
                  <a:gd name="connsiteX74" fmla="*/ 48860 w 650631"/>
                  <a:gd name="connsiteY74" fmla="*/ 49709 h 290048"/>
                  <a:gd name="connsiteX75" fmla="*/ 75968 w 650631"/>
                  <a:gd name="connsiteY75" fmla="*/ 63291 h 290048"/>
                  <a:gd name="connsiteX76" fmla="*/ 110123 w 650631"/>
                  <a:gd name="connsiteY76" fmla="*/ 56772 h 290048"/>
                  <a:gd name="connsiteX77" fmla="*/ 117171 w 650631"/>
                  <a:gd name="connsiteY77" fmla="*/ 58945 h 290048"/>
                  <a:gd name="connsiteX78" fmla="*/ 125846 w 650631"/>
                  <a:gd name="connsiteY78" fmla="*/ 63834 h 290048"/>
                  <a:gd name="connsiteX79" fmla="*/ 139399 w 650631"/>
                  <a:gd name="connsiteY79" fmla="*/ 57315 h 290048"/>
                  <a:gd name="connsiteX80" fmla="*/ 149158 w 650631"/>
                  <a:gd name="connsiteY80" fmla="*/ 50796 h 290048"/>
                  <a:gd name="connsiteX81" fmla="*/ 158375 w 650631"/>
                  <a:gd name="connsiteY81" fmla="*/ 38844 h 290048"/>
                  <a:gd name="connsiteX82" fmla="*/ 180061 w 650631"/>
                  <a:gd name="connsiteY82" fmla="*/ 27435 h 290048"/>
                  <a:gd name="connsiteX83" fmla="*/ 203373 w 650631"/>
                  <a:gd name="connsiteY83" fmla="*/ 13310 h 290048"/>
                  <a:gd name="connsiteX84" fmla="*/ 220722 w 650631"/>
                  <a:gd name="connsiteY84" fmla="*/ 10594 h 290048"/>
                  <a:gd name="connsiteX85" fmla="*/ 240782 w 650631"/>
                  <a:gd name="connsiteY85" fmla="*/ 14397 h 290048"/>
                  <a:gd name="connsiteX86" fmla="*/ 324273 w 650631"/>
                  <a:gd name="connsiteY86" fmla="*/ 7877 h 290048"/>
                  <a:gd name="connsiteX87" fmla="*/ 344875 w 650631"/>
                  <a:gd name="connsiteY87" fmla="*/ 3531 h 290048"/>
                  <a:gd name="connsiteX88" fmla="*/ 360055 w 650631"/>
                  <a:gd name="connsiteY88" fmla="*/ 2988 h 290048"/>
                  <a:gd name="connsiteX89" fmla="*/ 379030 w 650631"/>
                  <a:gd name="connsiteY89" fmla="*/ 1901 h 290048"/>
                  <a:gd name="connsiteX90" fmla="*/ 399632 w 650631"/>
                  <a:gd name="connsiteY90" fmla="*/ 815 h 290048"/>
                  <a:gd name="connsiteX91" fmla="*/ 409255 w 650631"/>
                  <a:gd name="connsiteY91" fmla="*/ 0 h 290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</a:cxnLst>
                <a:rect l="l" t="t" r="r" b="b"/>
                <a:pathLst>
                  <a:path w="650631" h="290048">
                    <a:moveTo>
                      <a:pt x="409255" y="0"/>
                    </a:moveTo>
                    <a:cubicBezTo>
                      <a:pt x="411831" y="0"/>
                      <a:pt x="414270" y="272"/>
                      <a:pt x="418065" y="815"/>
                    </a:cubicBezTo>
                    <a:cubicBezTo>
                      <a:pt x="422403" y="815"/>
                      <a:pt x="432161" y="4618"/>
                      <a:pt x="435414" y="3531"/>
                    </a:cubicBezTo>
                    <a:cubicBezTo>
                      <a:pt x="443546" y="2988"/>
                      <a:pt x="441378" y="4618"/>
                      <a:pt x="448968" y="5704"/>
                    </a:cubicBezTo>
                    <a:cubicBezTo>
                      <a:pt x="455474" y="5704"/>
                      <a:pt x="458727" y="3531"/>
                      <a:pt x="467401" y="4618"/>
                    </a:cubicBezTo>
                    <a:cubicBezTo>
                      <a:pt x="473907" y="5704"/>
                      <a:pt x="480955" y="5704"/>
                      <a:pt x="487461" y="6791"/>
                    </a:cubicBezTo>
                    <a:cubicBezTo>
                      <a:pt x="515653" y="11680"/>
                      <a:pt x="534628" y="272"/>
                      <a:pt x="549266" y="1358"/>
                    </a:cubicBezTo>
                    <a:cubicBezTo>
                      <a:pt x="561193" y="2445"/>
                      <a:pt x="599686" y="2445"/>
                      <a:pt x="607276" y="4074"/>
                    </a:cubicBezTo>
                    <a:cubicBezTo>
                      <a:pt x="624083" y="9507"/>
                      <a:pt x="642516" y="12223"/>
                      <a:pt x="649022" y="37214"/>
                    </a:cubicBezTo>
                    <a:cubicBezTo>
                      <a:pt x="652275" y="46993"/>
                      <a:pt x="650106" y="71440"/>
                      <a:pt x="646853" y="81219"/>
                    </a:cubicBezTo>
                    <a:cubicBezTo>
                      <a:pt x="645227" y="87738"/>
                      <a:pt x="644142" y="94800"/>
                      <a:pt x="641974" y="101320"/>
                    </a:cubicBezTo>
                    <a:cubicBezTo>
                      <a:pt x="639263" y="110012"/>
                      <a:pt x="637637" y="109469"/>
                      <a:pt x="636552" y="119791"/>
                    </a:cubicBezTo>
                    <a:cubicBezTo>
                      <a:pt x="635468" y="128483"/>
                      <a:pt x="628962" y="154017"/>
                      <a:pt x="630047" y="159450"/>
                    </a:cubicBezTo>
                    <a:cubicBezTo>
                      <a:pt x="630047" y="168142"/>
                      <a:pt x="630589" y="173575"/>
                      <a:pt x="630589" y="182810"/>
                    </a:cubicBezTo>
                    <a:cubicBezTo>
                      <a:pt x="630589" y="188922"/>
                      <a:pt x="635468" y="197784"/>
                      <a:pt x="638823" y="216272"/>
                    </a:cubicBezTo>
                    <a:lnTo>
                      <a:pt x="639944" y="225701"/>
                    </a:lnTo>
                    <a:lnTo>
                      <a:pt x="637858" y="227616"/>
                    </a:lnTo>
                    <a:cubicBezTo>
                      <a:pt x="632593" y="232323"/>
                      <a:pt x="627459" y="236440"/>
                      <a:pt x="622696" y="238722"/>
                    </a:cubicBezTo>
                    <a:cubicBezTo>
                      <a:pt x="603646" y="247850"/>
                      <a:pt x="580230" y="251819"/>
                      <a:pt x="567927" y="257772"/>
                    </a:cubicBezTo>
                    <a:cubicBezTo>
                      <a:pt x="561776" y="260749"/>
                      <a:pt x="558501" y="262733"/>
                      <a:pt x="556021" y="265065"/>
                    </a:cubicBezTo>
                    <a:lnTo>
                      <a:pt x="551077" y="271554"/>
                    </a:lnTo>
                    <a:lnTo>
                      <a:pt x="549266" y="267017"/>
                    </a:lnTo>
                    <a:cubicBezTo>
                      <a:pt x="537881" y="267017"/>
                      <a:pt x="532459" y="280056"/>
                      <a:pt x="527038" y="288748"/>
                    </a:cubicBezTo>
                    <a:lnTo>
                      <a:pt x="529206" y="289291"/>
                    </a:lnTo>
                    <a:cubicBezTo>
                      <a:pt x="527580" y="290378"/>
                      <a:pt x="525411" y="290378"/>
                      <a:pt x="522701" y="288748"/>
                    </a:cubicBezTo>
                    <a:cubicBezTo>
                      <a:pt x="521616" y="286575"/>
                      <a:pt x="521616" y="281685"/>
                      <a:pt x="521616" y="278969"/>
                    </a:cubicBezTo>
                    <a:cubicBezTo>
                      <a:pt x="518363" y="272450"/>
                      <a:pt x="520532" y="280599"/>
                      <a:pt x="518363" y="275709"/>
                    </a:cubicBezTo>
                    <a:cubicBezTo>
                      <a:pt x="515110" y="270277"/>
                      <a:pt x="520532" y="264844"/>
                      <a:pt x="512942" y="255608"/>
                    </a:cubicBezTo>
                    <a:cubicBezTo>
                      <a:pt x="508605" y="248546"/>
                      <a:pt x="500472" y="240397"/>
                      <a:pt x="498304" y="233878"/>
                    </a:cubicBezTo>
                    <a:lnTo>
                      <a:pt x="480955" y="244743"/>
                    </a:lnTo>
                    <a:cubicBezTo>
                      <a:pt x="480955" y="244743"/>
                      <a:pt x="482039" y="246916"/>
                      <a:pt x="478786" y="246916"/>
                    </a:cubicBezTo>
                    <a:cubicBezTo>
                      <a:pt x="477702" y="246916"/>
                      <a:pt x="478786" y="245830"/>
                      <a:pt x="478786" y="244743"/>
                    </a:cubicBezTo>
                    <a:cubicBezTo>
                      <a:pt x="470112" y="249632"/>
                      <a:pt x="461437" y="253435"/>
                      <a:pt x="451679" y="256152"/>
                    </a:cubicBezTo>
                    <a:cubicBezTo>
                      <a:pt x="424029" y="264301"/>
                      <a:pt x="415355" y="263214"/>
                      <a:pt x="387163" y="262128"/>
                    </a:cubicBezTo>
                    <a:cubicBezTo>
                      <a:pt x="381199" y="261041"/>
                      <a:pt x="371440" y="258868"/>
                      <a:pt x="364934" y="257781"/>
                    </a:cubicBezTo>
                    <a:cubicBezTo>
                      <a:pt x="358971" y="257781"/>
                      <a:pt x="361139" y="259955"/>
                      <a:pt x="360055" y="256695"/>
                    </a:cubicBezTo>
                    <a:cubicBezTo>
                      <a:pt x="353549" y="256695"/>
                      <a:pt x="350296" y="255065"/>
                      <a:pt x="343791" y="253979"/>
                    </a:cubicBezTo>
                    <a:lnTo>
                      <a:pt x="310719" y="246373"/>
                    </a:lnTo>
                    <a:cubicBezTo>
                      <a:pt x="304756" y="244200"/>
                      <a:pt x="299876" y="243113"/>
                      <a:pt x="294455" y="242027"/>
                    </a:cubicBezTo>
                    <a:lnTo>
                      <a:pt x="294896" y="245277"/>
                    </a:lnTo>
                    <a:lnTo>
                      <a:pt x="291702" y="243484"/>
                    </a:lnTo>
                    <a:cubicBezTo>
                      <a:pt x="280590" y="239118"/>
                      <a:pt x="275826" y="238722"/>
                      <a:pt x="267889" y="238722"/>
                    </a:cubicBezTo>
                    <a:cubicBezTo>
                      <a:pt x="259952" y="238722"/>
                      <a:pt x="252014" y="239912"/>
                      <a:pt x="244077" y="243484"/>
                    </a:cubicBezTo>
                    <a:cubicBezTo>
                      <a:pt x="236140" y="247056"/>
                      <a:pt x="235742" y="251025"/>
                      <a:pt x="220264" y="260153"/>
                    </a:cubicBezTo>
                    <a:cubicBezTo>
                      <a:pt x="216395" y="262435"/>
                      <a:pt x="211260" y="263948"/>
                      <a:pt x="205456" y="265436"/>
                    </a:cubicBezTo>
                    <a:lnTo>
                      <a:pt x="200557" y="266772"/>
                    </a:lnTo>
                    <a:lnTo>
                      <a:pt x="188439" y="264675"/>
                    </a:lnTo>
                    <a:cubicBezTo>
                      <a:pt x="174640" y="258359"/>
                      <a:pt x="175860" y="245015"/>
                      <a:pt x="164881" y="239310"/>
                    </a:cubicBezTo>
                    <a:cubicBezTo>
                      <a:pt x="162170" y="238767"/>
                      <a:pt x="158375" y="237681"/>
                      <a:pt x="157290" y="233334"/>
                    </a:cubicBezTo>
                    <a:cubicBezTo>
                      <a:pt x="151869" y="221382"/>
                      <a:pt x="149158" y="225729"/>
                      <a:pt x="143194" y="215950"/>
                    </a:cubicBezTo>
                    <a:cubicBezTo>
                      <a:pt x="131809" y="198022"/>
                      <a:pt x="125303" y="211060"/>
                      <a:pt x="116629" y="215950"/>
                    </a:cubicBezTo>
                    <a:lnTo>
                      <a:pt x="101449" y="231161"/>
                    </a:lnTo>
                    <a:lnTo>
                      <a:pt x="91556" y="236386"/>
                    </a:lnTo>
                    <a:lnTo>
                      <a:pt x="86766" y="222797"/>
                    </a:lnTo>
                    <a:cubicBezTo>
                      <a:pt x="82053" y="216299"/>
                      <a:pt x="75802" y="210743"/>
                      <a:pt x="70246" y="207766"/>
                    </a:cubicBezTo>
                    <a:cubicBezTo>
                      <a:pt x="64690" y="204790"/>
                      <a:pt x="59531" y="203103"/>
                      <a:pt x="52982" y="203004"/>
                    </a:cubicBezTo>
                    <a:lnTo>
                      <a:pt x="29006" y="207464"/>
                    </a:lnTo>
                    <a:lnTo>
                      <a:pt x="29546" y="202504"/>
                    </a:lnTo>
                    <a:cubicBezTo>
                      <a:pt x="30834" y="199923"/>
                      <a:pt x="33138" y="198022"/>
                      <a:pt x="36933" y="194762"/>
                    </a:cubicBezTo>
                    <a:cubicBezTo>
                      <a:pt x="42354" y="190959"/>
                      <a:pt x="44523" y="187156"/>
                      <a:pt x="47776" y="182267"/>
                    </a:cubicBezTo>
                    <a:cubicBezTo>
                      <a:pt x="53197" y="167599"/>
                      <a:pt x="51571" y="168685"/>
                      <a:pt x="53197" y="155103"/>
                    </a:cubicBezTo>
                    <a:cubicBezTo>
                      <a:pt x="54282" y="147498"/>
                      <a:pt x="53197" y="150214"/>
                      <a:pt x="51571" y="145325"/>
                    </a:cubicBezTo>
                    <a:cubicBezTo>
                      <a:pt x="48318" y="140978"/>
                      <a:pt x="51571" y="129027"/>
                      <a:pt x="45607" y="126853"/>
                    </a:cubicBezTo>
                    <a:cubicBezTo>
                      <a:pt x="40728" y="125224"/>
                      <a:pt x="44523" y="125767"/>
                      <a:pt x="40728" y="121964"/>
                    </a:cubicBezTo>
                    <a:cubicBezTo>
                      <a:pt x="32053" y="120877"/>
                      <a:pt x="32053" y="125767"/>
                      <a:pt x="21210" y="118704"/>
                    </a:cubicBezTo>
                    <a:cubicBezTo>
                      <a:pt x="15247" y="113815"/>
                      <a:pt x="21210" y="122507"/>
                      <a:pt x="16331" y="113815"/>
                    </a:cubicBezTo>
                    <a:cubicBezTo>
                      <a:pt x="10909" y="104579"/>
                      <a:pt x="-4271" y="96974"/>
                      <a:pt x="1151" y="82849"/>
                    </a:cubicBezTo>
                    <a:cubicBezTo>
                      <a:pt x="3862" y="77416"/>
                      <a:pt x="22295" y="71983"/>
                      <a:pt x="33138" y="77416"/>
                    </a:cubicBezTo>
                    <a:cubicBezTo>
                      <a:pt x="38559" y="80675"/>
                      <a:pt x="57535" y="92627"/>
                      <a:pt x="62956" y="90454"/>
                    </a:cubicBezTo>
                    <a:cubicBezTo>
                      <a:pt x="74883" y="85022"/>
                      <a:pt x="46691" y="67094"/>
                      <a:pt x="42896" y="68180"/>
                    </a:cubicBezTo>
                    <a:cubicBezTo>
                      <a:pt x="39644" y="68724"/>
                      <a:pt x="41812" y="67094"/>
                      <a:pt x="37475" y="62748"/>
                    </a:cubicBezTo>
                    <a:cubicBezTo>
                      <a:pt x="28800" y="54599"/>
                      <a:pt x="25548" y="39387"/>
                      <a:pt x="32053" y="28522"/>
                    </a:cubicBezTo>
                    <a:cubicBezTo>
                      <a:pt x="33138" y="26892"/>
                      <a:pt x="35306" y="27978"/>
                      <a:pt x="36933" y="28522"/>
                    </a:cubicBezTo>
                    <a:cubicBezTo>
                      <a:pt x="39101" y="30151"/>
                      <a:pt x="38017" y="32324"/>
                      <a:pt x="38017" y="34498"/>
                    </a:cubicBezTo>
                    <a:cubicBezTo>
                      <a:pt x="39101" y="43190"/>
                      <a:pt x="43439" y="44276"/>
                      <a:pt x="48860" y="49709"/>
                    </a:cubicBezTo>
                    <a:cubicBezTo>
                      <a:pt x="55366" y="54599"/>
                      <a:pt x="68378" y="60574"/>
                      <a:pt x="75968" y="63291"/>
                    </a:cubicBezTo>
                    <a:cubicBezTo>
                      <a:pt x="85726" y="67637"/>
                      <a:pt x="94943" y="53512"/>
                      <a:pt x="110123" y="56772"/>
                    </a:cubicBezTo>
                    <a:cubicBezTo>
                      <a:pt x="111208" y="57858"/>
                      <a:pt x="116087" y="58945"/>
                      <a:pt x="117171" y="58945"/>
                    </a:cubicBezTo>
                    <a:cubicBezTo>
                      <a:pt x="122593" y="58945"/>
                      <a:pt x="120424" y="61661"/>
                      <a:pt x="125846" y="63834"/>
                    </a:cubicBezTo>
                    <a:cubicBezTo>
                      <a:pt x="131809" y="67094"/>
                      <a:pt x="135062" y="61118"/>
                      <a:pt x="139399" y="57315"/>
                    </a:cubicBezTo>
                    <a:cubicBezTo>
                      <a:pt x="143194" y="53512"/>
                      <a:pt x="144821" y="53512"/>
                      <a:pt x="149158" y="50796"/>
                    </a:cubicBezTo>
                    <a:cubicBezTo>
                      <a:pt x="153495" y="46449"/>
                      <a:pt x="151869" y="38844"/>
                      <a:pt x="158375" y="38844"/>
                    </a:cubicBezTo>
                    <a:cubicBezTo>
                      <a:pt x="170302" y="38844"/>
                      <a:pt x="164881" y="42103"/>
                      <a:pt x="180061" y="27435"/>
                    </a:cubicBezTo>
                    <a:cubicBezTo>
                      <a:pt x="189820" y="18743"/>
                      <a:pt x="186024" y="16570"/>
                      <a:pt x="203373" y="13310"/>
                    </a:cubicBezTo>
                    <a:cubicBezTo>
                      <a:pt x="208795" y="13310"/>
                      <a:pt x="215301" y="9507"/>
                      <a:pt x="220722" y="10594"/>
                    </a:cubicBezTo>
                    <a:cubicBezTo>
                      <a:pt x="229397" y="11680"/>
                      <a:pt x="231565" y="14397"/>
                      <a:pt x="240782" y="14397"/>
                    </a:cubicBezTo>
                    <a:cubicBezTo>
                      <a:pt x="262468" y="14397"/>
                      <a:pt x="305840" y="12767"/>
                      <a:pt x="324273" y="7877"/>
                    </a:cubicBezTo>
                    <a:cubicBezTo>
                      <a:pt x="335116" y="4618"/>
                      <a:pt x="332948" y="3531"/>
                      <a:pt x="344875" y="3531"/>
                    </a:cubicBezTo>
                    <a:cubicBezTo>
                      <a:pt x="349212" y="3531"/>
                      <a:pt x="354634" y="2988"/>
                      <a:pt x="360055" y="2988"/>
                    </a:cubicBezTo>
                    <a:cubicBezTo>
                      <a:pt x="366561" y="2988"/>
                      <a:pt x="372525" y="3531"/>
                      <a:pt x="379030" y="1901"/>
                    </a:cubicBezTo>
                    <a:cubicBezTo>
                      <a:pt x="388789" y="-272"/>
                      <a:pt x="392042" y="1901"/>
                      <a:pt x="399632" y="815"/>
                    </a:cubicBezTo>
                    <a:cubicBezTo>
                      <a:pt x="403970" y="272"/>
                      <a:pt x="406680" y="0"/>
                      <a:pt x="409255" y="0"/>
                    </a:cubicBezTo>
                    <a:close/>
                  </a:path>
                </a:pathLst>
              </a:custGeom>
              <a:solidFill>
                <a:srgbClr val="6E3C1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6" name="Freeform: Shape 135">
                <a:extLst>
                  <a:ext uri="{FF2B5EF4-FFF2-40B4-BE49-F238E27FC236}">
                    <a16:creationId xmlns:a16="http://schemas.microsoft.com/office/drawing/2014/main" id="{AC5326EB-A19F-4921-8D89-1BB717AADE82}"/>
                  </a:ext>
                </a:extLst>
              </p:cNvPr>
              <p:cNvSpPr>
                <a:spLocks noChangeAspect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5066985" y="5162552"/>
                <a:ext cx="64489" cy="42417"/>
              </a:xfrm>
              <a:custGeom>
                <a:avLst/>
                <a:gdLst>
                  <a:gd name="connsiteX0" fmla="*/ 25915 w 64489"/>
                  <a:gd name="connsiteY0" fmla="*/ 0 h 42417"/>
                  <a:gd name="connsiteX1" fmla="*/ 43179 w 64489"/>
                  <a:gd name="connsiteY1" fmla="*/ 4762 h 42417"/>
                  <a:gd name="connsiteX2" fmla="*/ 59699 w 64489"/>
                  <a:gd name="connsiteY2" fmla="*/ 19793 h 42417"/>
                  <a:gd name="connsiteX3" fmla="*/ 64489 w 64489"/>
                  <a:gd name="connsiteY3" fmla="*/ 33382 h 42417"/>
                  <a:gd name="connsiteX4" fmla="*/ 64352 w 64489"/>
                  <a:gd name="connsiteY4" fmla="*/ 33454 h 42417"/>
                  <a:gd name="connsiteX5" fmla="*/ 52696 w 64489"/>
                  <a:gd name="connsiteY5" fmla="*/ 39566 h 42417"/>
                  <a:gd name="connsiteX6" fmla="*/ 3360 w 64489"/>
                  <a:gd name="connsiteY6" fmla="*/ 34677 h 42417"/>
                  <a:gd name="connsiteX7" fmla="*/ 1191 w 64489"/>
                  <a:gd name="connsiteY7" fmla="*/ 11316 h 42417"/>
                  <a:gd name="connsiteX8" fmla="*/ 1939 w 64489"/>
                  <a:gd name="connsiteY8" fmla="*/ 4460 h 42417"/>
                  <a:gd name="connsiteX9" fmla="*/ 25915 w 64489"/>
                  <a:gd name="connsiteY9" fmla="*/ 0 h 42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4489" h="42417">
                    <a:moveTo>
                      <a:pt x="25915" y="0"/>
                    </a:moveTo>
                    <a:cubicBezTo>
                      <a:pt x="32464" y="99"/>
                      <a:pt x="37623" y="1786"/>
                      <a:pt x="43179" y="4762"/>
                    </a:cubicBezTo>
                    <a:cubicBezTo>
                      <a:pt x="48735" y="7739"/>
                      <a:pt x="54986" y="13295"/>
                      <a:pt x="59699" y="19793"/>
                    </a:cubicBezTo>
                    <a:lnTo>
                      <a:pt x="64489" y="33382"/>
                    </a:lnTo>
                    <a:lnTo>
                      <a:pt x="64352" y="33454"/>
                    </a:lnTo>
                    <a:cubicBezTo>
                      <a:pt x="60015" y="35492"/>
                      <a:pt x="55407" y="37665"/>
                      <a:pt x="52696" y="39566"/>
                    </a:cubicBezTo>
                    <a:cubicBezTo>
                      <a:pt x="42937" y="44999"/>
                      <a:pt x="13119" y="42282"/>
                      <a:pt x="3360" y="34677"/>
                    </a:cubicBezTo>
                    <a:cubicBezTo>
                      <a:pt x="-2604" y="30330"/>
                      <a:pt x="1191" y="17835"/>
                      <a:pt x="1191" y="11316"/>
                    </a:cubicBezTo>
                    <a:lnTo>
                      <a:pt x="1939" y="4460"/>
                    </a:lnTo>
                    <a:lnTo>
                      <a:pt x="25915" y="0"/>
                    </a:ln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  <p:grpSp>
            <p:nvGrpSpPr>
              <p:cNvPr id="137" name="Group 136">
                <a:extLst>
                  <a:ext uri="{FF2B5EF4-FFF2-40B4-BE49-F238E27FC236}">
                    <a16:creationId xmlns:a16="http://schemas.microsoft.com/office/drawing/2014/main" id="{9D0BAC8D-65B7-4ECC-9B53-D7418D3C3633}"/>
                  </a:ext>
                </a:extLst>
              </p:cNvPr>
              <p:cNvGrpSpPr/>
              <p:nvPr/>
            </p:nvGrpSpPr>
            <p:grpSpPr>
              <a:xfrm>
                <a:off x="5102760" y="5091906"/>
                <a:ext cx="27432" cy="18288"/>
                <a:chOff x="3880384" y="5576888"/>
                <a:chExt cx="393660" cy="195262"/>
              </a:xfrm>
            </p:grpSpPr>
            <p:sp>
              <p:nvSpPr>
                <p:cNvPr id="143" name="Oval 142">
                  <a:extLst>
                    <a:ext uri="{FF2B5EF4-FFF2-40B4-BE49-F238E27FC236}">
                      <a16:creationId xmlns:a16="http://schemas.microsoft.com/office/drawing/2014/main" id="{CD97D1E6-7066-4F9E-AA43-0199CCB1EA31}"/>
                    </a:ext>
                  </a:extLst>
                </p:cNvPr>
                <p:cNvSpPr/>
                <p:nvPr/>
              </p:nvSpPr>
              <p:spPr>
                <a:xfrm>
                  <a:off x="3880384" y="5576888"/>
                  <a:ext cx="393660" cy="195262"/>
                </a:xfrm>
                <a:prstGeom prst="ellipse">
                  <a:avLst/>
                </a:prstGeom>
                <a:solidFill>
                  <a:schemeClr val="tx1">
                    <a:lumMod val="95000"/>
                    <a:lumOff val="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44" name="Oval 143">
                  <a:extLst>
                    <a:ext uri="{FF2B5EF4-FFF2-40B4-BE49-F238E27FC236}">
                      <a16:creationId xmlns:a16="http://schemas.microsoft.com/office/drawing/2014/main" id="{129D3910-3452-494E-BCA0-276CB2E6C962}"/>
                    </a:ext>
                  </a:extLst>
                </p:cNvPr>
                <p:cNvSpPr/>
                <p:nvPr/>
              </p:nvSpPr>
              <p:spPr>
                <a:xfrm>
                  <a:off x="4159741" y="5641181"/>
                  <a:ext cx="66975" cy="66675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38" name="Group 137">
                <a:extLst>
                  <a:ext uri="{FF2B5EF4-FFF2-40B4-BE49-F238E27FC236}">
                    <a16:creationId xmlns:a16="http://schemas.microsoft.com/office/drawing/2014/main" id="{4A7D3A9E-93D1-4374-9D16-A6BA18743A6B}"/>
                  </a:ext>
                </a:extLst>
              </p:cNvPr>
              <p:cNvGrpSpPr/>
              <p:nvPr/>
            </p:nvGrpSpPr>
            <p:grpSpPr>
              <a:xfrm>
                <a:off x="5150385" y="5096668"/>
                <a:ext cx="27432" cy="18288"/>
                <a:chOff x="3880384" y="5576888"/>
                <a:chExt cx="393660" cy="195262"/>
              </a:xfrm>
            </p:grpSpPr>
            <p:sp>
              <p:nvSpPr>
                <p:cNvPr id="141" name="Oval 140">
                  <a:extLst>
                    <a:ext uri="{FF2B5EF4-FFF2-40B4-BE49-F238E27FC236}">
                      <a16:creationId xmlns:a16="http://schemas.microsoft.com/office/drawing/2014/main" id="{EB2FAC5D-87AC-4BD1-9157-857EC07BB38F}"/>
                    </a:ext>
                  </a:extLst>
                </p:cNvPr>
                <p:cNvSpPr/>
                <p:nvPr/>
              </p:nvSpPr>
              <p:spPr>
                <a:xfrm>
                  <a:off x="3880384" y="5576888"/>
                  <a:ext cx="393660" cy="195262"/>
                </a:xfrm>
                <a:prstGeom prst="ellipse">
                  <a:avLst/>
                </a:prstGeom>
                <a:solidFill>
                  <a:schemeClr val="tx1">
                    <a:lumMod val="95000"/>
                    <a:lumOff val="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42" name="Oval 141">
                  <a:extLst>
                    <a:ext uri="{FF2B5EF4-FFF2-40B4-BE49-F238E27FC236}">
                      <a16:creationId xmlns:a16="http://schemas.microsoft.com/office/drawing/2014/main" id="{E4F38000-4BA6-447D-84E9-B6CC21C7C0F5}"/>
                    </a:ext>
                  </a:extLst>
                </p:cNvPr>
                <p:cNvSpPr/>
                <p:nvPr/>
              </p:nvSpPr>
              <p:spPr>
                <a:xfrm>
                  <a:off x="4159741" y="5641181"/>
                  <a:ext cx="66975" cy="66675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139" name="Freeform: Shape 138">
                <a:extLst>
                  <a:ext uri="{FF2B5EF4-FFF2-40B4-BE49-F238E27FC236}">
                    <a16:creationId xmlns:a16="http://schemas.microsoft.com/office/drawing/2014/main" id="{77D47C69-634D-486C-BD09-1CC201F57611}"/>
                  </a:ext>
                </a:extLst>
              </p:cNvPr>
              <p:cNvSpPr/>
              <p:nvPr/>
            </p:nvSpPr>
            <p:spPr>
              <a:xfrm>
                <a:off x="5560991" y="5185249"/>
                <a:ext cx="128582" cy="207139"/>
              </a:xfrm>
              <a:custGeom>
                <a:avLst/>
                <a:gdLst>
                  <a:gd name="connsiteX0" fmla="*/ 118870 w 128582"/>
                  <a:gd name="connsiteY0" fmla="*/ 0 h 207139"/>
                  <a:gd name="connsiteX1" fmla="*/ 120358 w 128582"/>
                  <a:gd name="connsiteY1" fmla="*/ 12523 h 207139"/>
                  <a:gd name="connsiteX2" fmla="*/ 126864 w 128582"/>
                  <a:gd name="connsiteY2" fmla="*/ 52181 h 207139"/>
                  <a:gd name="connsiteX3" fmla="*/ 121442 w 128582"/>
                  <a:gd name="connsiteY3" fmla="*/ 32624 h 207139"/>
                  <a:gd name="connsiteX4" fmla="*/ 117105 w 128582"/>
                  <a:gd name="connsiteY4" fmla="*/ 50008 h 207139"/>
                  <a:gd name="connsiteX5" fmla="*/ 124153 w 128582"/>
                  <a:gd name="connsiteY5" fmla="*/ 92927 h 207139"/>
                  <a:gd name="connsiteX6" fmla="*/ 124153 w 128582"/>
                  <a:gd name="connsiteY6" fmla="*/ 102706 h 207139"/>
                  <a:gd name="connsiteX7" fmla="*/ 126864 w 128582"/>
                  <a:gd name="connsiteY7" fmla="*/ 111941 h 207139"/>
                  <a:gd name="connsiteX8" fmla="*/ 121442 w 128582"/>
                  <a:gd name="connsiteY8" fmla="*/ 94013 h 207139"/>
                  <a:gd name="connsiteX9" fmla="*/ 118189 w 128582"/>
                  <a:gd name="connsiteY9" fmla="*/ 85321 h 207139"/>
                  <a:gd name="connsiteX10" fmla="*/ 117105 w 128582"/>
                  <a:gd name="connsiteY10" fmla="*/ 73369 h 207139"/>
                  <a:gd name="connsiteX11" fmla="*/ 114394 w 128582"/>
                  <a:gd name="connsiteY11" fmla="*/ 77715 h 207139"/>
                  <a:gd name="connsiteX12" fmla="*/ 114394 w 128582"/>
                  <a:gd name="connsiteY12" fmla="*/ 63047 h 207139"/>
                  <a:gd name="connsiteX13" fmla="*/ 112225 w 128582"/>
                  <a:gd name="connsiteY13" fmla="*/ 73369 h 207139"/>
                  <a:gd name="connsiteX14" fmla="*/ 113310 w 128582"/>
                  <a:gd name="connsiteY14" fmla="*/ 94013 h 207139"/>
                  <a:gd name="connsiteX15" fmla="*/ 116563 w 128582"/>
                  <a:gd name="connsiteY15" fmla="*/ 102706 h 207139"/>
                  <a:gd name="connsiteX16" fmla="*/ 107888 w 128582"/>
                  <a:gd name="connsiteY16" fmla="*/ 86407 h 207139"/>
                  <a:gd name="connsiteX17" fmla="*/ 105720 w 128582"/>
                  <a:gd name="connsiteY17" fmla="*/ 96730 h 207139"/>
                  <a:gd name="connsiteX18" fmla="*/ 101382 w 128582"/>
                  <a:gd name="connsiteY18" fmla="*/ 123893 h 207139"/>
                  <a:gd name="connsiteX19" fmla="*/ 102467 w 128582"/>
                  <a:gd name="connsiteY19" fmla="*/ 138561 h 207139"/>
                  <a:gd name="connsiteX20" fmla="*/ 102467 w 128582"/>
                  <a:gd name="connsiteY20" fmla="*/ 145624 h 207139"/>
                  <a:gd name="connsiteX21" fmla="*/ 102467 w 128582"/>
                  <a:gd name="connsiteY21" fmla="*/ 159749 h 207139"/>
                  <a:gd name="connsiteX22" fmla="*/ 105720 w 128582"/>
                  <a:gd name="connsiteY22" fmla="*/ 172244 h 207139"/>
                  <a:gd name="connsiteX23" fmla="*/ 94877 w 128582"/>
                  <a:gd name="connsiteY23" fmla="*/ 182023 h 207139"/>
                  <a:gd name="connsiteX24" fmla="*/ 97045 w 128582"/>
                  <a:gd name="connsiteY24" fmla="*/ 188542 h 207139"/>
                  <a:gd name="connsiteX25" fmla="*/ 94877 w 128582"/>
                  <a:gd name="connsiteY25" fmla="*/ 200494 h 207139"/>
                  <a:gd name="connsiteX26" fmla="*/ 67227 w 128582"/>
                  <a:gd name="connsiteY26" fmla="*/ 205384 h 207139"/>
                  <a:gd name="connsiteX27" fmla="*/ 61263 w 128582"/>
                  <a:gd name="connsiteY27" fmla="*/ 203211 h 207139"/>
                  <a:gd name="connsiteX28" fmla="*/ 47709 w 128582"/>
                  <a:gd name="connsiteY28" fmla="*/ 191802 h 207139"/>
                  <a:gd name="connsiteX29" fmla="*/ 48794 w 128582"/>
                  <a:gd name="connsiteY29" fmla="*/ 189629 h 207139"/>
                  <a:gd name="connsiteX30" fmla="*/ 50962 w 128582"/>
                  <a:gd name="connsiteY30" fmla="*/ 189629 h 207139"/>
                  <a:gd name="connsiteX31" fmla="*/ 52589 w 128582"/>
                  <a:gd name="connsiteY31" fmla="*/ 186369 h 207139"/>
                  <a:gd name="connsiteX32" fmla="*/ 54757 w 128582"/>
                  <a:gd name="connsiteY32" fmla="*/ 184739 h 207139"/>
                  <a:gd name="connsiteX33" fmla="*/ 64516 w 128582"/>
                  <a:gd name="connsiteY33" fmla="*/ 168985 h 207139"/>
                  <a:gd name="connsiteX34" fmla="*/ 66685 w 128582"/>
                  <a:gd name="connsiteY34" fmla="*/ 167355 h 207139"/>
                  <a:gd name="connsiteX35" fmla="*/ 79154 w 128582"/>
                  <a:gd name="connsiteY35" fmla="*/ 114658 h 207139"/>
                  <a:gd name="connsiteX36" fmla="*/ 82949 w 128582"/>
                  <a:gd name="connsiteY36" fmla="*/ 100533 h 207139"/>
                  <a:gd name="connsiteX37" fmla="*/ 72106 w 128582"/>
                  <a:gd name="connsiteY37" fmla="*/ 58701 h 207139"/>
                  <a:gd name="connsiteX38" fmla="*/ 65600 w 128582"/>
                  <a:gd name="connsiteY38" fmla="*/ 71196 h 207139"/>
                  <a:gd name="connsiteX39" fmla="*/ 61263 w 128582"/>
                  <a:gd name="connsiteY39" fmla="*/ 78258 h 207139"/>
                  <a:gd name="connsiteX40" fmla="*/ 58552 w 128582"/>
                  <a:gd name="connsiteY40" fmla="*/ 83148 h 207139"/>
                  <a:gd name="connsiteX41" fmla="*/ 53131 w 128582"/>
                  <a:gd name="connsiteY41" fmla="*/ 110311 h 207139"/>
                  <a:gd name="connsiteX42" fmla="*/ 52047 w 128582"/>
                  <a:gd name="connsiteY42" fmla="*/ 116831 h 207139"/>
                  <a:gd name="connsiteX43" fmla="*/ 47167 w 128582"/>
                  <a:gd name="connsiteY43" fmla="*/ 115744 h 207139"/>
                  <a:gd name="connsiteX44" fmla="*/ 35782 w 128582"/>
                  <a:gd name="connsiteY44" fmla="*/ 126609 h 207139"/>
                  <a:gd name="connsiteX45" fmla="*/ 27650 w 128582"/>
                  <a:gd name="connsiteY45" fmla="*/ 129326 h 207139"/>
                  <a:gd name="connsiteX46" fmla="*/ 0 w 128582"/>
                  <a:gd name="connsiteY46" fmla="*/ 124436 h 207139"/>
                  <a:gd name="connsiteX47" fmla="*/ 2169 w 128582"/>
                  <a:gd name="connsiteY47" fmla="*/ 116831 h 207139"/>
                  <a:gd name="connsiteX48" fmla="*/ 3795 w 128582"/>
                  <a:gd name="connsiteY48" fmla="*/ 113571 h 207139"/>
                  <a:gd name="connsiteX49" fmla="*/ 3795 w 128582"/>
                  <a:gd name="connsiteY49" fmla="*/ 110855 h 207139"/>
                  <a:gd name="connsiteX50" fmla="*/ 7048 w 128582"/>
                  <a:gd name="connsiteY50" fmla="*/ 113571 h 207139"/>
                  <a:gd name="connsiteX51" fmla="*/ 20060 w 128582"/>
                  <a:gd name="connsiteY51" fmla="*/ 103792 h 207139"/>
                  <a:gd name="connsiteX52" fmla="*/ 29276 w 128582"/>
                  <a:gd name="connsiteY52" fmla="*/ 93470 h 207139"/>
                  <a:gd name="connsiteX53" fmla="*/ 42288 w 128582"/>
                  <a:gd name="connsiteY53" fmla="*/ 62504 h 207139"/>
                  <a:gd name="connsiteX54" fmla="*/ 35782 w 128582"/>
                  <a:gd name="connsiteY54" fmla="*/ 46206 h 207139"/>
                  <a:gd name="connsiteX55" fmla="*/ 30361 w 128582"/>
                  <a:gd name="connsiteY55" fmla="*/ 46749 h 207139"/>
                  <a:gd name="connsiteX56" fmla="*/ 30003 w 128582"/>
                  <a:gd name="connsiteY56" fmla="*/ 45853 h 207139"/>
                  <a:gd name="connsiteX57" fmla="*/ 34947 w 128582"/>
                  <a:gd name="connsiteY57" fmla="*/ 39364 h 207139"/>
                  <a:gd name="connsiteX58" fmla="*/ 46853 w 128582"/>
                  <a:gd name="connsiteY58" fmla="*/ 32071 h 207139"/>
                  <a:gd name="connsiteX59" fmla="*/ 101622 w 128582"/>
                  <a:gd name="connsiteY59" fmla="*/ 13021 h 207139"/>
                  <a:gd name="connsiteX60" fmla="*/ 116784 w 128582"/>
                  <a:gd name="connsiteY60" fmla="*/ 1915 h 207139"/>
                  <a:gd name="connsiteX61" fmla="*/ 118870 w 128582"/>
                  <a:gd name="connsiteY61" fmla="*/ 0 h 207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128582" h="207139">
                    <a:moveTo>
                      <a:pt x="118870" y="0"/>
                    </a:moveTo>
                    <a:lnTo>
                      <a:pt x="120358" y="12523"/>
                    </a:lnTo>
                    <a:cubicBezTo>
                      <a:pt x="121442" y="30451"/>
                      <a:pt x="132827" y="44576"/>
                      <a:pt x="126864" y="52181"/>
                    </a:cubicBezTo>
                    <a:cubicBezTo>
                      <a:pt x="123611" y="47292"/>
                      <a:pt x="130116" y="44576"/>
                      <a:pt x="121442" y="32624"/>
                    </a:cubicBezTo>
                    <a:cubicBezTo>
                      <a:pt x="122526" y="42403"/>
                      <a:pt x="116563" y="41316"/>
                      <a:pt x="117105" y="50008"/>
                    </a:cubicBezTo>
                    <a:cubicBezTo>
                      <a:pt x="121984" y="73369"/>
                      <a:pt x="123068" y="64677"/>
                      <a:pt x="124153" y="92927"/>
                    </a:cubicBezTo>
                    <a:lnTo>
                      <a:pt x="124153" y="102706"/>
                    </a:lnTo>
                    <a:cubicBezTo>
                      <a:pt x="125779" y="107052"/>
                      <a:pt x="126864" y="104335"/>
                      <a:pt x="126864" y="111941"/>
                    </a:cubicBezTo>
                    <a:cubicBezTo>
                      <a:pt x="121442" y="110311"/>
                      <a:pt x="121442" y="98903"/>
                      <a:pt x="121442" y="94013"/>
                    </a:cubicBezTo>
                    <a:cubicBezTo>
                      <a:pt x="121442" y="90210"/>
                      <a:pt x="119273" y="88037"/>
                      <a:pt x="118189" y="85321"/>
                    </a:cubicBezTo>
                    <a:cubicBezTo>
                      <a:pt x="117105" y="80975"/>
                      <a:pt x="117105" y="77715"/>
                      <a:pt x="117105" y="73369"/>
                    </a:cubicBezTo>
                    <a:cubicBezTo>
                      <a:pt x="115478" y="78802"/>
                      <a:pt x="118189" y="75542"/>
                      <a:pt x="114394" y="77715"/>
                    </a:cubicBezTo>
                    <a:cubicBezTo>
                      <a:pt x="114394" y="68480"/>
                      <a:pt x="117105" y="71196"/>
                      <a:pt x="114394" y="63047"/>
                    </a:cubicBezTo>
                    <a:cubicBezTo>
                      <a:pt x="114394" y="67936"/>
                      <a:pt x="112225" y="69566"/>
                      <a:pt x="112225" y="73369"/>
                    </a:cubicBezTo>
                    <a:cubicBezTo>
                      <a:pt x="112225" y="79888"/>
                      <a:pt x="110057" y="87494"/>
                      <a:pt x="113310" y="94013"/>
                    </a:cubicBezTo>
                    <a:cubicBezTo>
                      <a:pt x="115478" y="96730"/>
                      <a:pt x="118189" y="99446"/>
                      <a:pt x="116563" y="102706"/>
                    </a:cubicBezTo>
                    <a:cubicBezTo>
                      <a:pt x="114394" y="101619"/>
                      <a:pt x="108973" y="87494"/>
                      <a:pt x="107888" y="86407"/>
                    </a:cubicBezTo>
                    <a:cubicBezTo>
                      <a:pt x="105720" y="89124"/>
                      <a:pt x="107888" y="92927"/>
                      <a:pt x="105720" y="96730"/>
                    </a:cubicBezTo>
                    <a:cubicBezTo>
                      <a:pt x="103551" y="105422"/>
                      <a:pt x="103551" y="115201"/>
                      <a:pt x="101382" y="123893"/>
                    </a:cubicBezTo>
                    <a:cubicBezTo>
                      <a:pt x="100840" y="128239"/>
                      <a:pt x="101382" y="135845"/>
                      <a:pt x="102467" y="138561"/>
                    </a:cubicBezTo>
                    <a:lnTo>
                      <a:pt x="102467" y="145624"/>
                    </a:lnTo>
                    <a:cubicBezTo>
                      <a:pt x="101382" y="148884"/>
                      <a:pt x="102467" y="154316"/>
                      <a:pt x="102467" y="159749"/>
                    </a:cubicBezTo>
                    <a:cubicBezTo>
                      <a:pt x="102467" y="168985"/>
                      <a:pt x="102467" y="165725"/>
                      <a:pt x="105720" y="172244"/>
                    </a:cubicBezTo>
                    <a:cubicBezTo>
                      <a:pt x="108973" y="180936"/>
                      <a:pt x="92708" y="174417"/>
                      <a:pt x="94877" y="182023"/>
                    </a:cubicBezTo>
                    <a:cubicBezTo>
                      <a:pt x="95961" y="184739"/>
                      <a:pt x="95961" y="183653"/>
                      <a:pt x="97045" y="188542"/>
                    </a:cubicBezTo>
                    <a:cubicBezTo>
                      <a:pt x="98130" y="193432"/>
                      <a:pt x="99214" y="196148"/>
                      <a:pt x="94877" y="200494"/>
                    </a:cubicBezTo>
                    <a:cubicBezTo>
                      <a:pt x="87286" y="207557"/>
                      <a:pt x="76443" y="208643"/>
                      <a:pt x="67227" y="205384"/>
                    </a:cubicBezTo>
                    <a:cubicBezTo>
                      <a:pt x="60179" y="204297"/>
                      <a:pt x="64516" y="205384"/>
                      <a:pt x="61263" y="203211"/>
                    </a:cubicBezTo>
                    <a:cubicBezTo>
                      <a:pt x="58552" y="201581"/>
                      <a:pt x="42288" y="198321"/>
                      <a:pt x="47709" y="191802"/>
                    </a:cubicBezTo>
                    <a:lnTo>
                      <a:pt x="48794" y="189629"/>
                    </a:lnTo>
                    <a:cubicBezTo>
                      <a:pt x="52047" y="186369"/>
                      <a:pt x="48794" y="190715"/>
                      <a:pt x="50962" y="189629"/>
                    </a:cubicBezTo>
                    <a:cubicBezTo>
                      <a:pt x="52589" y="186369"/>
                      <a:pt x="52047" y="187456"/>
                      <a:pt x="52589" y="186369"/>
                    </a:cubicBezTo>
                    <a:cubicBezTo>
                      <a:pt x="52589" y="184739"/>
                      <a:pt x="52589" y="185283"/>
                      <a:pt x="54757" y="184739"/>
                    </a:cubicBezTo>
                    <a:cubicBezTo>
                      <a:pt x="58010" y="182023"/>
                      <a:pt x="63432" y="172244"/>
                      <a:pt x="64516" y="168985"/>
                    </a:cubicBezTo>
                    <a:cubicBezTo>
                      <a:pt x="66685" y="165182"/>
                      <a:pt x="64516" y="167355"/>
                      <a:pt x="66685" y="167355"/>
                    </a:cubicBezTo>
                    <a:cubicBezTo>
                      <a:pt x="74275" y="149427"/>
                      <a:pt x="78070" y="134215"/>
                      <a:pt x="79154" y="114658"/>
                    </a:cubicBezTo>
                    <a:cubicBezTo>
                      <a:pt x="80239" y="108682"/>
                      <a:pt x="81323" y="106508"/>
                      <a:pt x="82949" y="100533"/>
                    </a:cubicBezTo>
                    <a:cubicBezTo>
                      <a:pt x="78612" y="84778"/>
                      <a:pt x="77528" y="73912"/>
                      <a:pt x="72106" y="58701"/>
                    </a:cubicBezTo>
                    <a:lnTo>
                      <a:pt x="65600" y="71196"/>
                    </a:lnTo>
                    <a:cubicBezTo>
                      <a:pt x="63432" y="73912"/>
                      <a:pt x="63432" y="74999"/>
                      <a:pt x="61263" y="78258"/>
                    </a:cubicBezTo>
                    <a:cubicBezTo>
                      <a:pt x="61263" y="80975"/>
                      <a:pt x="60721" y="78258"/>
                      <a:pt x="58552" y="83148"/>
                    </a:cubicBezTo>
                    <a:cubicBezTo>
                      <a:pt x="54215" y="95643"/>
                      <a:pt x="51504" y="97273"/>
                      <a:pt x="53131" y="110311"/>
                    </a:cubicBezTo>
                    <a:cubicBezTo>
                      <a:pt x="54215" y="114658"/>
                      <a:pt x="50420" y="111941"/>
                      <a:pt x="52047" y="116831"/>
                    </a:cubicBezTo>
                    <a:lnTo>
                      <a:pt x="47167" y="115744"/>
                    </a:lnTo>
                    <a:cubicBezTo>
                      <a:pt x="36324" y="131499"/>
                      <a:pt x="40661" y="123350"/>
                      <a:pt x="35782" y="126609"/>
                    </a:cubicBezTo>
                    <a:cubicBezTo>
                      <a:pt x="30903" y="130412"/>
                      <a:pt x="35782" y="129326"/>
                      <a:pt x="27650" y="129326"/>
                    </a:cubicBezTo>
                    <a:cubicBezTo>
                      <a:pt x="13554" y="129869"/>
                      <a:pt x="10843" y="125523"/>
                      <a:pt x="0" y="124436"/>
                    </a:cubicBezTo>
                    <a:cubicBezTo>
                      <a:pt x="1084" y="123350"/>
                      <a:pt x="1084" y="120090"/>
                      <a:pt x="2169" y="116831"/>
                    </a:cubicBezTo>
                    <a:cubicBezTo>
                      <a:pt x="2169" y="116831"/>
                      <a:pt x="7048" y="119004"/>
                      <a:pt x="3795" y="113571"/>
                    </a:cubicBezTo>
                    <a:lnTo>
                      <a:pt x="3795" y="110855"/>
                    </a:lnTo>
                    <a:lnTo>
                      <a:pt x="7048" y="113571"/>
                    </a:lnTo>
                    <a:cubicBezTo>
                      <a:pt x="13012" y="109768"/>
                      <a:pt x="14096" y="107052"/>
                      <a:pt x="20060" y="103792"/>
                    </a:cubicBezTo>
                    <a:cubicBezTo>
                      <a:pt x="25481" y="99989"/>
                      <a:pt x="25481" y="98903"/>
                      <a:pt x="29276" y="93470"/>
                    </a:cubicBezTo>
                    <a:cubicBezTo>
                      <a:pt x="34698" y="83691"/>
                      <a:pt x="39035" y="72826"/>
                      <a:pt x="42288" y="62504"/>
                    </a:cubicBezTo>
                    <a:cubicBezTo>
                      <a:pt x="31445" y="54898"/>
                      <a:pt x="39577" y="56528"/>
                      <a:pt x="35782" y="46206"/>
                    </a:cubicBezTo>
                    <a:cubicBezTo>
                      <a:pt x="33613" y="46749"/>
                      <a:pt x="35782" y="48922"/>
                      <a:pt x="30361" y="46749"/>
                    </a:cubicBezTo>
                    <a:lnTo>
                      <a:pt x="30003" y="45853"/>
                    </a:lnTo>
                    <a:lnTo>
                      <a:pt x="34947" y="39364"/>
                    </a:lnTo>
                    <a:cubicBezTo>
                      <a:pt x="37427" y="37032"/>
                      <a:pt x="40702" y="35048"/>
                      <a:pt x="46853" y="32071"/>
                    </a:cubicBezTo>
                    <a:cubicBezTo>
                      <a:pt x="59156" y="26118"/>
                      <a:pt x="82572" y="22149"/>
                      <a:pt x="101622" y="13021"/>
                    </a:cubicBezTo>
                    <a:cubicBezTo>
                      <a:pt x="106385" y="10739"/>
                      <a:pt x="111519" y="6622"/>
                      <a:pt x="116784" y="1915"/>
                    </a:cubicBezTo>
                    <a:lnTo>
                      <a:pt x="118870" y="0"/>
                    </a:lnTo>
                    <a:close/>
                  </a:path>
                </a:pathLst>
              </a:custGeom>
              <a:solidFill>
                <a:srgbClr val="9E6C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0" name="Freeform: Shape 139">
                <a:extLst>
                  <a:ext uri="{FF2B5EF4-FFF2-40B4-BE49-F238E27FC236}">
                    <a16:creationId xmlns:a16="http://schemas.microsoft.com/office/drawing/2014/main" id="{DB205E88-BDB0-4C52-AEA0-6F99AA712504}"/>
                  </a:ext>
                </a:extLst>
              </p:cNvPr>
              <p:cNvSpPr/>
              <p:nvPr/>
            </p:nvSpPr>
            <p:spPr>
              <a:xfrm>
                <a:off x="5214556" y="5198270"/>
                <a:ext cx="139520" cy="158421"/>
              </a:xfrm>
              <a:custGeom>
                <a:avLst/>
                <a:gdLst>
                  <a:gd name="connsiteX0" fmla="*/ 93250 w 139520"/>
                  <a:gd name="connsiteY0" fmla="*/ 0 h 158421"/>
                  <a:gd name="connsiteX1" fmla="*/ 117063 w 139520"/>
                  <a:gd name="connsiteY1" fmla="*/ 4762 h 158421"/>
                  <a:gd name="connsiteX2" fmla="*/ 120257 w 139520"/>
                  <a:gd name="connsiteY2" fmla="*/ 6555 h 158421"/>
                  <a:gd name="connsiteX3" fmla="*/ 120968 w 139520"/>
                  <a:gd name="connsiteY3" fmla="*/ 11793 h 158421"/>
                  <a:gd name="connsiteX4" fmla="*/ 122527 w 139520"/>
                  <a:gd name="connsiteY4" fmla="*/ 20689 h 158421"/>
                  <a:gd name="connsiteX5" fmla="*/ 125779 w 139520"/>
                  <a:gd name="connsiteY5" fmla="*/ 56545 h 158421"/>
                  <a:gd name="connsiteX6" fmla="*/ 126864 w 139520"/>
                  <a:gd name="connsiteY6" fmla="*/ 71757 h 158421"/>
                  <a:gd name="connsiteX7" fmla="*/ 136622 w 139520"/>
                  <a:gd name="connsiteY7" fmla="*/ 112502 h 158421"/>
                  <a:gd name="connsiteX8" fmla="*/ 137707 w 139520"/>
                  <a:gd name="connsiteY8" fmla="*/ 119021 h 158421"/>
                  <a:gd name="connsiteX9" fmla="*/ 137707 w 139520"/>
                  <a:gd name="connsiteY9" fmla="*/ 133689 h 158421"/>
                  <a:gd name="connsiteX10" fmla="*/ 131743 w 139520"/>
                  <a:gd name="connsiteY10" fmla="*/ 129887 h 158421"/>
                  <a:gd name="connsiteX11" fmla="*/ 130659 w 139520"/>
                  <a:gd name="connsiteY11" fmla="*/ 129887 h 158421"/>
                  <a:gd name="connsiteX12" fmla="*/ 130659 w 139520"/>
                  <a:gd name="connsiteY12" fmla="*/ 148901 h 158421"/>
                  <a:gd name="connsiteX13" fmla="*/ 126864 w 139520"/>
                  <a:gd name="connsiteY13" fmla="*/ 154334 h 158421"/>
                  <a:gd name="connsiteX14" fmla="*/ 124695 w 139520"/>
                  <a:gd name="connsiteY14" fmla="*/ 153247 h 158421"/>
                  <a:gd name="connsiteX15" fmla="*/ 121984 w 139520"/>
                  <a:gd name="connsiteY15" fmla="*/ 158137 h 158421"/>
                  <a:gd name="connsiteX16" fmla="*/ 102467 w 139520"/>
                  <a:gd name="connsiteY16" fmla="*/ 158137 h 158421"/>
                  <a:gd name="connsiteX17" fmla="*/ 91624 w 139520"/>
                  <a:gd name="connsiteY17" fmla="*/ 143468 h 158421"/>
                  <a:gd name="connsiteX18" fmla="*/ 95961 w 139520"/>
                  <a:gd name="connsiteY18" fmla="*/ 138579 h 158421"/>
                  <a:gd name="connsiteX19" fmla="*/ 98672 w 139520"/>
                  <a:gd name="connsiteY19" fmla="*/ 136406 h 158421"/>
                  <a:gd name="connsiteX20" fmla="*/ 104636 w 139520"/>
                  <a:gd name="connsiteY20" fmla="*/ 127713 h 158421"/>
                  <a:gd name="connsiteX21" fmla="*/ 106262 w 139520"/>
                  <a:gd name="connsiteY21" fmla="*/ 80449 h 158421"/>
                  <a:gd name="connsiteX22" fmla="*/ 104636 w 139520"/>
                  <a:gd name="connsiteY22" fmla="*/ 78276 h 158421"/>
                  <a:gd name="connsiteX23" fmla="*/ 104636 w 139520"/>
                  <a:gd name="connsiteY23" fmla="*/ 76103 h 158421"/>
                  <a:gd name="connsiteX24" fmla="*/ 100298 w 139520"/>
                  <a:gd name="connsiteY24" fmla="*/ 73386 h 158421"/>
                  <a:gd name="connsiteX25" fmla="*/ 100298 w 139520"/>
                  <a:gd name="connsiteY25" fmla="*/ 71213 h 158421"/>
                  <a:gd name="connsiteX26" fmla="*/ 91624 w 139520"/>
                  <a:gd name="connsiteY26" fmla="*/ 61435 h 158421"/>
                  <a:gd name="connsiteX27" fmla="*/ 80239 w 139520"/>
                  <a:gd name="connsiteY27" fmla="*/ 30468 h 158421"/>
                  <a:gd name="connsiteX28" fmla="*/ 78070 w 139520"/>
                  <a:gd name="connsiteY28" fmla="*/ 23949 h 158421"/>
                  <a:gd name="connsiteX29" fmla="*/ 73733 w 139520"/>
                  <a:gd name="connsiteY29" fmla="*/ 16343 h 158421"/>
                  <a:gd name="connsiteX30" fmla="*/ 71022 w 139520"/>
                  <a:gd name="connsiteY30" fmla="*/ 29925 h 158421"/>
                  <a:gd name="connsiteX31" fmla="*/ 68854 w 139520"/>
                  <a:gd name="connsiteY31" fmla="*/ 36444 h 158421"/>
                  <a:gd name="connsiteX32" fmla="*/ 68854 w 139520"/>
                  <a:gd name="connsiteY32" fmla="*/ 37531 h 158421"/>
                  <a:gd name="connsiteX33" fmla="*/ 66685 w 139520"/>
                  <a:gd name="connsiteY33" fmla="*/ 45136 h 158421"/>
                  <a:gd name="connsiteX34" fmla="*/ 61806 w 139520"/>
                  <a:gd name="connsiteY34" fmla="*/ 61435 h 158421"/>
                  <a:gd name="connsiteX35" fmla="*/ 60721 w 139520"/>
                  <a:gd name="connsiteY35" fmla="*/ 70127 h 158421"/>
                  <a:gd name="connsiteX36" fmla="*/ 57468 w 139520"/>
                  <a:gd name="connsiteY36" fmla="*/ 85338 h 158421"/>
                  <a:gd name="connsiteX37" fmla="*/ 56926 w 139520"/>
                  <a:gd name="connsiteY37" fmla="*/ 103810 h 158421"/>
                  <a:gd name="connsiteX38" fmla="*/ 54758 w 139520"/>
                  <a:gd name="connsiteY38" fmla="*/ 118478 h 158421"/>
                  <a:gd name="connsiteX39" fmla="*/ 47167 w 139520"/>
                  <a:gd name="connsiteY39" fmla="*/ 122824 h 158421"/>
                  <a:gd name="connsiteX40" fmla="*/ 44999 w 139520"/>
                  <a:gd name="connsiteY40" fmla="*/ 123367 h 158421"/>
                  <a:gd name="connsiteX41" fmla="*/ 43915 w 139520"/>
                  <a:gd name="connsiteY41" fmla="*/ 124454 h 158421"/>
                  <a:gd name="connsiteX42" fmla="*/ 42830 w 139520"/>
                  <a:gd name="connsiteY42" fmla="*/ 136406 h 158421"/>
                  <a:gd name="connsiteX43" fmla="*/ 39035 w 139520"/>
                  <a:gd name="connsiteY43" fmla="*/ 141295 h 158421"/>
                  <a:gd name="connsiteX44" fmla="*/ 16265 w 139520"/>
                  <a:gd name="connsiteY44" fmla="*/ 142382 h 158421"/>
                  <a:gd name="connsiteX45" fmla="*/ 0 w 139520"/>
                  <a:gd name="connsiteY45" fmla="*/ 135863 h 158421"/>
                  <a:gd name="connsiteX46" fmla="*/ 7048 w 139520"/>
                  <a:gd name="connsiteY46" fmla="*/ 130430 h 158421"/>
                  <a:gd name="connsiteX47" fmla="*/ 8133 w 139520"/>
                  <a:gd name="connsiteY47" fmla="*/ 129343 h 158421"/>
                  <a:gd name="connsiteX48" fmla="*/ 15723 w 139520"/>
                  <a:gd name="connsiteY48" fmla="*/ 121738 h 158421"/>
                  <a:gd name="connsiteX49" fmla="*/ 20602 w 139520"/>
                  <a:gd name="connsiteY49" fmla="*/ 116305 h 158421"/>
                  <a:gd name="connsiteX50" fmla="*/ 37951 w 139520"/>
                  <a:gd name="connsiteY50" fmla="*/ 64151 h 158421"/>
                  <a:gd name="connsiteX51" fmla="*/ 33614 w 139520"/>
                  <a:gd name="connsiteY51" fmla="*/ 29382 h 158421"/>
                  <a:gd name="connsiteX52" fmla="*/ 25918 w 139520"/>
                  <a:gd name="connsiteY52" fmla="*/ 28050 h 158421"/>
                  <a:gd name="connsiteX53" fmla="*/ 30817 w 139520"/>
                  <a:gd name="connsiteY53" fmla="*/ 26714 h 158421"/>
                  <a:gd name="connsiteX54" fmla="*/ 45625 w 139520"/>
                  <a:gd name="connsiteY54" fmla="*/ 21431 h 158421"/>
                  <a:gd name="connsiteX55" fmla="*/ 69438 w 139520"/>
                  <a:gd name="connsiteY55" fmla="*/ 4762 h 158421"/>
                  <a:gd name="connsiteX56" fmla="*/ 93250 w 139520"/>
                  <a:gd name="connsiteY56" fmla="*/ 0 h 1584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139520" h="158421">
                    <a:moveTo>
                      <a:pt x="93250" y="0"/>
                    </a:moveTo>
                    <a:cubicBezTo>
                      <a:pt x="101187" y="0"/>
                      <a:pt x="105951" y="396"/>
                      <a:pt x="117063" y="4762"/>
                    </a:cubicBezTo>
                    <a:lnTo>
                      <a:pt x="120257" y="6555"/>
                    </a:lnTo>
                    <a:lnTo>
                      <a:pt x="120968" y="11793"/>
                    </a:lnTo>
                    <a:cubicBezTo>
                      <a:pt x="121578" y="15393"/>
                      <a:pt x="122256" y="19060"/>
                      <a:pt x="122527" y="20689"/>
                    </a:cubicBezTo>
                    <a:cubicBezTo>
                      <a:pt x="123611" y="28295"/>
                      <a:pt x="127948" y="50026"/>
                      <a:pt x="125779" y="56545"/>
                    </a:cubicBezTo>
                    <a:cubicBezTo>
                      <a:pt x="124695" y="65237"/>
                      <a:pt x="125779" y="63064"/>
                      <a:pt x="126864" y="71757"/>
                    </a:cubicBezTo>
                    <a:cubicBezTo>
                      <a:pt x="129032" y="91858"/>
                      <a:pt x="132285" y="97290"/>
                      <a:pt x="136622" y="112502"/>
                    </a:cubicBezTo>
                    <a:cubicBezTo>
                      <a:pt x="137707" y="114132"/>
                      <a:pt x="136622" y="116848"/>
                      <a:pt x="137707" y="119021"/>
                    </a:cubicBezTo>
                    <a:cubicBezTo>
                      <a:pt x="138249" y="124997"/>
                      <a:pt x="141502" y="128257"/>
                      <a:pt x="137707" y="133689"/>
                    </a:cubicBezTo>
                    <a:cubicBezTo>
                      <a:pt x="134996" y="132603"/>
                      <a:pt x="131743" y="130973"/>
                      <a:pt x="131743" y="129887"/>
                    </a:cubicBezTo>
                    <a:lnTo>
                      <a:pt x="130659" y="129887"/>
                    </a:lnTo>
                    <a:cubicBezTo>
                      <a:pt x="129032" y="135319"/>
                      <a:pt x="134996" y="147271"/>
                      <a:pt x="130659" y="148901"/>
                    </a:cubicBezTo>
                    <a:cubicBezTo>
                      <a:pt x="125779" y="152161"/>
                      <a:pt x="127948" y="148901"/>
                      <a:pt x="126864" y="154334"/>
                    </a:cubicBezTo>
                    <a:cubicBezTo>
                      <a:pt x="124695" y="154334"/>
                      <a:pt x="129032" y="154334"/>
                      <a:pt x="124695" y="153247"/>
                    </a:cubicBezTo>
                    <a:cubicBezTo>
                      <a:pt x="122527" y="156507"/>
                      <a:pt x="122527" y="155420"/>
                      <a:pt x="121984" y="158137"/>
                    </a:cubicBezTo>
                    <a:cubicBezTo>
                      <a:pt x="119816" y="157050"/>
                      <a:pt x="105720" y="158137"/>
                      <a:pt x="102467" y="158137"/>
                    </a:cubicBezTo>
                    <a:cubicBezTo>
                      <a:pt x="91624" y="159766"/>
                      <a:pt x="81323" y="154334"/>
                      <a:pt x="91624" y="143468"/>
                    </a:cubicBezTo>
                    <a:cubicBezTo>
                      <a:pt x="94877" y="140209"/>
                      <a:pt x="93792" y="139665"/>
                      <a:pt x="95961" y="138579"/>
                    </a:cubicBezTo>
                    <a:cubicBezTo>
                      <a:pt x="98672" y="137492"/>
                      <a:pt x="97045" y="139665"/>
                      <a:pt x="98672" y="136406"/>
                    </a:cubicBezTo>
                    <a:lnTo>
                      <a:pt x="104636" y="127713"/>
                    </a:lnTo>
                    <a:cubicBezTo>
                      <a:pt x="113310" y="119021"/>
                      <a:pt x="106262" y="90771"/>
                      <a:pt x="106262" y="80449"/>
                    </a:cubicBezTo>
                    <a:cubicBezTo>
                      <a:pt x="103551" y="79362"/>
                      <a:pt x="104636" y="81536"/>
                      <a:pt x="104636" y="78276"/>
                    </a:cubicBezTo>
                    <a:cubicBezTo>
                      <a:pt x="104636" y="76103"/>
                      <a:pt x="105720" y="79362"/>
                      <a:pt x="104636" y="76103"/>
                    </a:cubicBezTo>
                    <a:lnTo>
                      <a:pt x="100298" y="73386"/>
                    </a:lnTo>
                    <a:cubicBezTo>
                      <a:pt x="100298" y="72300"/>
                      <a:pt x="95419" y="72300"/>
                      <a:pt x="100298" y="71213"/>
                    </a:cubicBezTo>
                    <a:cubicBezTo>
                      <a:pt x="95961" y="66867"/>
                      <a:pt x="95961" y="66867"/>
                      <a:pt x="91624" y="61435"/>
                    </a:cubicBezTo>
                    <a:cubicBezTo>
                      <a:pt x="85660" y="50569"/>
                      <a:pt x="87829" y="40247"/>
                      <a:pt x="80239" y="30468"/>
                    </a:cubicBezTo>
                    <a:lnTo>
                      <a:pt x="78070" y="23949"/>
                    </a:lnTo>
                    <a:cubicBezTo>
                      <a:pt x="76986" y="21233"/>
                      <a:pt x="75901" y="19059"/>
                      <a:pt x="73733" y="16343"/>
                    </a:cubicBezTo>
                    <a:cubicBezTo>
                      <a:pt x="71022" y="21233"/>
                      <a:pt x="72106" y="25035"/>
                      <a:pt x="71022" y="29925"/>
                    </a:cubicBezTo>
                    <a:cubicBezTo>
                      <a:pt x="71022" y="31555"/>
                      <a:pt x="69938" y="34271"/>
                      <a:pt x="68854" y="36444"/>
                    </a:cubicBezTo>
                    <a:lnTo>
                      <a:pt x="68854" y="37531"/>
                    </a:lnTo>
                    <a:lnTo>
                      <a:pt x="66685" y="45136"/>
                    </a:lnTo>
                    <a:cubicBezTo>
                      <a:pt x="62890" y="52742"/>
                      <a:pt x="63974" y="47853"/>
                      <a:pt x="61806" y="61435"/>
                    </a:cubicBezTo>
                    <a:cubicBezTo>
                      <a:pt x="60721" y="64694"/>
                      <a:pt x="60721" y="66867"/>
                      <a:pt x="60721" y="70127"/>
                    </a:cubicBezTo>
                    <a:cubicBezTo>
                      <a:pt x="60721" y="72843"/>
                      <a:pt x="58553" y="75560"/>
                      <a:pt x="57468" y="85338"/>
                    </a:cubicBezTo>
                    <a:lnTo>
                      <a:pt x="56926" y="103810"/>
                    </a:lnTo>
                    <a:cubicBezTo>
                      <a:pt x="56926" y="114675"/>
                      <a:pt x="57468" y="108699"/>
                      <a:pt x="54758" y="118478"/>
                    </a:cubicBezTo>
                    <a:cubicBezTo>
                      <a:pt x="52589" y="122824"/>
                      <a:pt x="52047" y="123367"/>
                      <a:pt x="47167" y="122824"/>
                    </a:cubicBezTo>
                    <a:cubicBezTo>
                      <a:pt x="47167" y="122824"/>
                      <a:pt x="44999" y="121738"/>
                      <a:pt x="44999" y="123367"/>
                    </a:cubicBezTo>
                    <a:lnTo>
                      <a:pt x="43915" y="124454"/>
                    </a:lnTo>
                    <a:cubicBezTo>
                      <a:pt x="43915" y="128800"/>
                      <a:pt x="43915" y="132060"/>
                      <a:pt x="42830" y="136406"/>
                    </a:cubicBezTo>
                    <a:cubicBezTo>
                      <a:pt x="39035" y="144555"/>
                      <a:pt x="40119" y="140209"/>
                      <a:pt x="39035" y="141295"/>
                    </a:cubicBezTo>
                    <a:cubicBezTo>
                      <a:pt x="31445" y="143468"/>
                      <a:pt x="24397" y="142382"/>
                      <a:pt x="16265" y="142382"/>
                    </a:cubicBezTo>
                    <a:cubicBezTo>
                      <a:pt x="5964" y="142382"/>
                      <a:pt x="2169" y="142382"/>
                      <a:pt x="0" y="135863"/>
                    </a:cubicBezTo>
                    <a:cubicBezTo>
                      <a:pt x="2711" y="132060"/>
                      <a:pt x="3795" y="131516"/>
                      <a:pt x="7048" y="130430"/>
                    </a:cubicBezTo>
                    <a:cubicBezTo>
                      <a:pt x="9759" y="128257"/>
                      <a:pt x="3795" y="132060"/>
                      <a:pt x="8133" y="129343"/>
                    </a:cubicBezTo>
                    <a:lnTo>
                      <a:pt x="15723" y="121738"/>
                    </a:lnTo>
                    <a:cubicBezTo>
                      <a:pt x="18433" y="117391"/>
                      <a:pt x="16265" y="118478"/>
                      <a:pt x="20602" y="116305"/>
                    </a:cubicBezTo>
                    <a:cubicBezTo>
                      <a:pt x="32529" y="110329"/>
                      <a:pt x="39035" y="70670"/>
                      <a:pt x="37951" y="64151"/>
                    </a:cubicBezTo>
                    <a:cubicBezTo>
                      <a:pt x="37951" y="60348"/>
                      <a:pt x="24939" y="41877"/>
                      <a:pt x="33614" y="29382"/>
                    </a:cubicBezTo>
                    <a:lnTo>
                      <a:pt x="25918" y="28050"/>
                    </a:lnTo>
                    <a:lnTo>
                      <a:pt x="30817" y="26714"/>
                    </a:lnTo>
                    <a:cubicBezTo>
                      <a:pt x="36621" y="25226"/>
                      <a:pt x="41756" y="23713"/>
                      <a:pt x="45625" y="21431"/>
                    </a:cubicBezTo>
                    <a:cubicBezTo>
                      <a:pt x="61103" y="12303"/>
                      <a:pt x="61501" y="8334"/>
                      <a:pt x="69438" y="4762"/>
                    </a:cubicBezTo>
                    <a:cubicBezTo>
                      <a:pt x="77375" y="1190"/>
                      <a:pt x="85313" y="0"/>
                      <a:pt x="93250" y="0"/>
                    </a:cubicBezTo>
                    <a:close/>
                  </a:path>
                </a:pathLst>
              </a:custGeom>
              <a:solidFill>
                <a:srgbClr val="9E6C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83E4384B-4573-4F9A-AF76-9F3B5C820F0C}"/>
              </a:ext>
            </a:extLst>
          </p:cNvPr>
          <p:cNvGrpSpPr/>
          <p:nvPr/>
        </p:nvGrpSpPr>
        <p:grpSpPr>
          <a:xfrm flipH="1">
            <a:off x="1616094" y="5929931"/>
            <a:ext cx="512012" cy="325023"/>
            <a:chOff x="5039917" y="4959547"/>
            <a:chExt cx="751283" cy="476911"/>
          </a:xfrm>
        </p:grpSpPr>
        <p:sp>
          <p:nvSpPr>
            <p:cNvPr id="146" name="Oval 145">
              <a:extLst>
                <a:ext uri="{FF2B5EF4-FFF2-40B4-BE49-F238E27FC236}">
                  <a16:creationId xmlns:a16="http://schemas.microsoft.com/office/drawing/2014/main" id="{48B99801-57FF-4D9C-9BE5-8113422E1EDD}"/>
                </a:ext>
              </a:extLst>
            </p:cNvPr>
            <p:cNvSpPr/>
            <p:nvPr/>
          </p:nvSpPr>
          <p:spPr>
            <a:xfrm>
              <a:off x="5066985" y="5276924"/>
              <a:ext cx="724215" cy="159534"/>
            </a:xfrm>
            <a:prstGeom prst="ellipse">
              <a:avLst/>
            </a:prstGeom>
            <a:solidFill>
              <a:schemeClr val="tx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47" name="Group 146">
              <a:extLst>
                <a:ext uri="{FF2B5EF4-FFF2-40B4-BE49-F238E27FC236}">
                  <a16:creationId xmlns:a16="http://schemas.microsoft.com/office/drawing/2014/main" id="{92025908-7B17-4C87-8BFD-69E1B6F52444}"/>
                </a:ext>
              </a:extLst>
            </p:cNvPr>
            <p:cNvGrpSpPr/>
            <p:nvPr/>
          </p:nvGrpSpPr>
          <p:grpSpPr>
            <a:xfrm>
              <a:off x="5039917" y="4959547"/>
              <a:ext cx="650631" cy="432841"/>
              <a:chOff x="5039917" y="4959547"/>
              <a:chExt cx="650631" cy="432841"/>
            </a:xfrm>
          </p:grpSpPr>
          <p:sp>
            <p:nvSpPr>
              <p:cNvPr id="148" name="Freeform: Shape 147">
                <a:extLst>
                  <a:ext uri="{FF2B5EF4-FFF2-40B4-BE49-F238E27FC236}">
                    <a16:creationId xmlns:a16="http://schemas.microsoft.com/office/drawing/2014/main" id="{1E91FD55-00AE-4A5C-8FD0-6309DE2C214A}"/>
                  </a:ext>
                </a:extLst>
              </p:cNvPr>
              <p:cNvSpPr/>
              <p:nvPr/>
            </p:nvSpPr>
            <p:spPr>
              <a:xfrm>
                <a:off x="5039917" y="4959547"/>
                <a:ext cx="650631" cy="290048"/>
              </a:xfrm>
              <a:custGeom>
                <a:avLst/>
                <a:gdLst>
                  <a:gd name="connsiteX0" fmla="*/ 409255 w 650631"/>
                  <a:gd name="connsiteY0" fmla="*/ 0 h 290048"/>
                  <a:gd name="connsiteX1" fmla="*/ 418065 w 650631"/>
                  <a:gd name="connsiteY1" fmla="*/ 815 h 290048"/>
                  <a:gd name="connsiteX2" fmla="*/ 435414 w 650631"/>
                  <a:gd name="connsiteY2" fmla="*/ 3531 h 290048"/>
                  <a:gd name="connsiteX3" fmla="*/ 448968 w 650631"/>
                  <a:gd name="connsiteY3" fmla="*/ 5704 h 290048"/>
                  <a:gd name="connsiteX4" fmla="*/ 467401 w 650631"/>
                  <a:gd name="connsiteY4" fmla="*/ 4618 h 290048"/>
                  <a:gd name="connsiteX5" fmla="*/ 487461 w 650631"/>
                  <a:gd name="connsiteY5" fmla="*/ 6791 h 290048"/>
                  <a:gd name="connsiteX6" fmla="*/ 549266 w 650631"/>
                  <a:gd name="connsiteY6" fmla="*/ 1358 h 290048"/>
                  <a:gd name="connsiteX7" fmla="*/ 607276 w 650631"/>
                  <a:gd name="connsiteY7" fmla="*/ 4074 h 290048"/>
                  <a:gd name="connsiteX8" fmla="*/ 649022 w 650631"/>
                  <a:gd name="connsiteY8" fmla="*/ 37214 h 290048"/>
                  <a:gd name="connsiteX9" fmla="*/ 646853 w 650631"/>
                  <a:gd name="connsiteY9" fmla="*/ 81219 h 290048"/>
                  <a:gd name="connsiteX10" fmla="*/ 641974 w 650631"/>
                  <a:gd name="connsiteY10" fmla="*/ 101320 h 290048"/>
                  <a:gd name="connsiteX11" fmla="*/ 636552 w 650631"/>
                  <a:gd name="connsiteY11" fmla="*/ 119791 h 290048"/>
                  <a:gd name="connsiteX12" fmla="*/ 630047 w 650631"/>
                  <a:gd name="connsiteY12" fmla="*/ 159450 h 290048"/>
                  <a:gd name="connsiteX13" fmla="*/ 630589 w 650631"/>
                  <a:gd name="connsiteY13" fmla="*/ 182810 h 290048"/>
                  <a:gd name="connsiteX14" fmla="*/ 638823 w 650631"/>
                  <a:gd name="connsiteY14" fmla="*/ 216272 h 290048"/>
                  <a:gd name="connsiteX15" fmla="*/ 639944 w 650631"/>
                  <a:gd name="connsiteY15" fmla="*/ 225701 h 290048"/>
                  <a:gd name="connsiteX16" fmla="*/ 637858 w 650631"/>
                  <a:gd name="connsiteY16" fmla="*/ 227616 h 290048"/>
                  <a:gd name="connsiteX17" fmla="*/ 622696 w 650631"/>
                  <a:gd name="connsiteY17" fmla="*/ 238722 h 290048"/>
                  <a:gd name="connsiteX18" fmla="*/ 567927 w 650631"/>
                  <a:gd name="connsiteY18" fmla="*/ 257772 h 290048"/>
                  <a:gd name="connsiteX19" fmla="*/ 556021 w 650631"/>
                  <a:gd name="connsiteY19" fmla="*/ 265065 h 290048"/>
                  <a:gd name="connsiteX20" fmla="*/ 551077 w 650631"/>
                  <a:gd name="connsiteY20" fmla="*/ 271554 h 290048"/>
                  <a:gd name="connsiteX21" fmla="*/ 549266 w 650631"/>
                  <a:gd name="connsiteY21" fmla="*/ 267017 h 290048"/>
                  <a:gd name="connsiteX22" fmla="*/ 527038 w 650631"/>
                  <a:gd name="connsiteY22" fmla="*/ 288748 h 290048"/>
                  <a:gd name="connsiteX23" fmla="*/ 529206 w 650631"/>
                  <a:gd name="connsiteY23" fmla="*/ 289291 h 290048"/>
                  <a:gd name="connsiteX24" fmla="*/ 522701 w 650631"/>
                  <a:gd name="connsiteY24" fmla="*/ 288748 h 290048"/>
                  <a:gd name="connsiteX25" fmla="*/ 521616 w 650631"/>
                  <a:gd name="connsiteY25" fmla="*/ 278969 h 290048"/>
                  <a:gd name="connsiteX26" fmla="*/ 518363 w 650631"/>
                  <a:gd name="connsiteY26" fmla="*/ 275709 h 290048"/>
                  <a:gd name="connsiteX27" fmla="*/ 512942 w 650631"/>
                  <a:gd name="connsiteY27" fmla="*/ 255608 h 290048"/>
                  <a:gd name="connsiteX28" fmla="*/ 498304 w 650631"/>
                  <a:gd name="connsiteY28" fmla="*/ 233878 h 290048"/>
                  <a:gd name="connsiteX29" fmla="*/ 480955 w 650631"/>
                  <a:gd name="connsiteY29" fmla="*/ 244743 h 290048"/>
                  <a:gd name="connsiteX30" fmla="*/ 478786 w 650631"/>
                  <a:gd name="connsiteY30" fmla="*/ 246916 h 290048"/>
                  <a:gd name="connsiteX31" fmla="*/ 478786 w 650631"/>
                  <a:gd name="connsiteY31" fmla="*/ 244743 h 290048"/>
                  <a:gd name="connsiteX32" fmla="*/ 451679 w 650631"/>
                  <a:gd name="connsiteY32" fmla="*/ 256152 h 290048"/>
                  <a:gd name="connsiteX33" fmla="*/ 387163 w 650631"/>
                  <a:gd name="connsiteY33" fmla="*/ 262128 h 290048"/>
                  <a:gd name="connsiteX34" fmla="*/ 364934 w 650631"/>
                  <a:gd name="connsiteY34" fmla="*/ 257781 h 290048"/>
                  <a:gd name="connsiteX35" fmla="*/ 360055 w 650631"/>
                  <a:gd name="connsiteY35" fmla="*/ 256695 h 290048"/>
                  <a:gd name="connsiteX36" fmla="*/ 343791 w 650631"/>
                  <a:gd name="connsiteY36" fmla="*/ 253979 h 290048"/>
                  <a:gd name="connsiteX37" fmla="*/ 310719 w 650631"/>
                  <a:gd name="connsiteY37" fmla="*/ 246373 h 290048"/>
                  <a:gd name="connsiteX38" fmla="*/ 294455 w 650631"/>
                  <a:gd name="connsiteY38" fmla="*/ 242027 h 290048"/>
                  <a:gd name="connsiteX39" fmla="*/ 294896 w 650631"/>
                  <a:gd name="connsiteY39" fmla="*/ 245277 h 290048"/>
                  <a:gd name="connsiteX40" fmla="*/ 291702 w 650631"/>
                  <a:gd name="connsiteY40" fmla="*/ 243484 h 290048"/>
                  <a:gd name="connsiteX41" fmla="*/ 267889 w 650631"/>
                  <a:gd name="connsiteY41" fmla="*/ 238722 h 290048"/>
                  <a:gd name="connsiteX42" fmla="*/ 244077 w 650631"/>
                  <a:gd name="connsiteY42" fmla="*/ 243484 h 290048"/>
                  <a:gd name="connsiteX43" fmla="*/ 220264 w 650631"/>
                  <a:gd name="connsiteY43" fmla="*/ 260153 h 290048"/>
                  <a:gd name="connsiteX44" fmla="*/ 205456 w 650631"/>
                  <a:gd name="connsiteY44" fmla="*/ 265436 h 290048"/>
                  <a:gd name="connsiteX45" fmla="*/ 200557 w 650631"/>
                  <a:gd name="connsiteY45" fmla="*/ 266772 h 290048"/>
                  <a:gd name="connsiteX46" fmla="*/ 188439 w 650631"/>
                  <a:gd name="connsiteY46" fmla="*/ 264675 h 290048"/>
                  <a:gd name="connsiteX47" fmla="*/ 164881 w 650631"/>
                  <a:gd name="connsiteY47" fmla="*/ 239310 h 290048"/>
                  <a:gd name="connsiteX48" fmla="*/ 157290 w 650631"/>
                  <a:gd name="connsiteY48" fmla="*/ 233334 h 290048"/>
                  <a:gd name="connsiteX49" fmla="*/ 143194 w 650631"/>
                  <a:gd name="connsiteY49" fmla="*/ 215950 h 290048"/>
                  <a:gd name="connsiteX50" fmla="*/ 116629 w 650631"/>
                  <a:gd name="connsiteY50" fmla="*/ 215950 h 290048"/>
                  <a:gd name="connsiteX51" fmla="*/ 101449 w 650631"/>
                  <a:gd name="connsiteY51" fmla="*/ 231161 h 290048"/>
                  <a:gd name="connsiteX52" fmla="*/ 91556 w 650631"/>
                  <a:gd name="connsiteY52" fmla="*/ 236386 h 290048"/>
                  <a:gd name="connsiteX53" fmla="*/ 86766 w 650631"/>
                  <a:gd name="connsiteY53" fmla="*/ 222797 h 290048"/>
                  <a:gd name="connsiteX54" fmla="*/ 70246 w 650631"/>
                  <a:gd name="connsiteY54" fmla="*/ 207766 h 290048"/>
                  <a:gd name="connsiteX55" fmla="*/ 52982 w 650631"/>
                  <a:gd name="connsiteY55" fmla="*/ 203004 h 290048"/>
                  <a:gd name="connsiteX56" fmla="*/ 29006 w 650631"/>
                  <a:gd name="connsiteY56" fmla="*/ 207464 h 290048"/>
                  <a:gd name="connsiteX57" fmla="*/ 29546 w 650631"/>
                  <a:gd name="connsiteY57" fmla="*/ 202504 h 290048"/>
                  <a:gd name="connsiteX58" fmla="*/ 36933 w 650631"/>
                  <a:gd name="connsiteY58" fmla="*/ 194762 h 290048"/>
                  <a:gd name="connsiteX59" fmla="*/ 47776 w 650631"/>
                  <a:gd name="connsiteY59" fmla="*/ 182267 h 290048"/>
                  <a:gd name="connsiteX60" fmla="*/ 53197 w 650631"/>
                  <a:gd name="connsiteY60" fmla="*/ 155103 h 290048"/>
                  <a:gd name="connsiteX61" fmla="*/ 51571 w 650631"/>
                  <a:gd name="connsiteY61" fmla="*/ 145325 h 290048"/>
                  <a:gd name="connsiteX62" fmla="*/ 45607 w 650631"/>
                  <a:gd name="connsiteY62" fmla="*/ 126853 h 290048"/>
                  <a:gd name="connsiteX63" fmla="*/ 40728 w 650631"/>
                  <a:gd name="connsiteY63" fmla="*/ 121964 h 290048"/>
                  <a:gd name="connsiteX64" fmla="*/ 21210 w 650631"/>
                  <a:gd name="connsiteY64" fmla="*/ 118704 h 290048"/>
                  <a:gd name="connsiteX65" fmla="*/ 16331 w 650631"/>
                  <a:gd name="connsiteY65" fmla="*/ 113815 h 290048"/>
                  <a:gd name="connsiteX66" fmla="*/ 1151 w 650631"/>
                  <a:gd name="connsiteY66" fmla="*/ 82849 h 290048"/>
                  <a:gd name="connsiteX67" fmla="*/ 33138 w 650631"/>
                  <a:gd name="connsiteY67" fmla="*/ 77416 h 290048"/>
                  <a:gd name="connsiteX68" fmla="*/ 62956 w 650631"/>
                  <a:gd name="connsiteY68" fmla="*/ 90454 h 290048"/>
                  <a:gd name="connsiteX69" fmla="*/ 42896 w 650631"/>
                  <a:gd name="connsiteY69" fmla="*/ 68180 h 290048"/>
                  <a:gd name="connsiteX70" fmla="*/ 37475 w 650631"/>
                  <a:gd name="connsiteY70" fmla="*/ 62748 h 290048"/>
                  <a:gd name="connsiteX71" fmla="*/ 32053 w 650631"/>
                  <a:gd name="connsiteY71" fmla="*/ 28522 h 290048"/>
                  <a:gd name="connsiteX72" fmla="*/ 36933 w 650631"/>
                  <a:gd name="connsiteY72" fmla="*/ 28522 h 290048"/>
                  <a:gd name="connsiteX73" fmla="*/ 38017 w 650631"/>
                  <a:gd name="connsiteY73" fmla="*/ 34498 h 290048"/>
                  <a:gd name="connsiteX74" fmla="*/ 48860 w 650631"/>
                  <a:gd name="connsiteY74" fmla="*/ 49709 h 290048"/>
                  <a:gd name="connsiteX75" fmla="*/ 75968 w 650631"/>
                  <a:gd name="connsiteY75" fmla="*/ 63291 h 290048"/>
                  <a:gd name="connsiteX76" fmla="*/ 110123 w 650631"/>
                  <a:gd name="connsiteY76" fmla="*/ 56772 h 290048"/>
                  <a:gd name="connsiteX77" fmla="*/ 117171 w 650631"/>
                  <a:gd name="connsiteY77" fmla="*/ 58945 h 290048"/>
                  <a:gd name="connsiteX78" fmla="*/ 125846 w 650631"/>
                  <a:gd name="connsiteY78" fmla="*/ 63834 h 290048"/>
                  <a:gd name="connsiteX79" fmla="*/ 139399 w 650631"/>
                  <a:gd name="connsiteY79" fmla="*/ 57315 h 290048"/>
                  <a:gd name="connsiteX80" fmla="*/ 149158 w 650631"/>
                  <a:gd name="connsiteY80" fmla="*/ 50796 h 290048"/>
                  <a:gd name="connsiteX81" fmla="*/ 158375 w 650631"/>
                  <a:gd name="connsiteY81" fmla="*/ 38844 h 290048"/>
                  <a:gd name="connsiteX82" fmla="*/ 180061 w 650631"/>
                  <a:gd name="connsiteY82" fmla="*/ 27435 h 290048"/>
                  <a:gd name="connsiteX83" fmla="*/ 203373 w 650631"/>
                  <a:gd name="connsiteY83" fmla="*/ 13310 h 290048"/>
                  <a:gd name="connsiteX84" fmla="*/ 220722 w 650631"/>
                  <a:gd name="connsiteY84" fmla="*/ 10594 h 290048"/>
                  <a:gd name="connsiteX85" fmla="*/ 240782 w 650631"/>
                  <a:gd name="connsiteY85" fmla="*/ 14397 h 290048"/>
                  <a:gd name="connsiteX86" fmla="*/ 324273 w 650631"/>
                  <a:gd name="connsiteY86" fmla="*/ 7877 h 290048"/>
                  <a:gd name="connsiteX87" fmla="*/ 344875 w 650631"/>
                  <a:gd name="connsiteY87" fmla="*/ 3531 h 290048"/>
                  <a:gd name="connsiteX88" fmla="*/ 360055 w 650631"/>
                  <a:gd name="connsiteY88" fmla="*/ 2988 h 290048"/>
                  <a:gd name="connsiteX89" fmla="*/ 379030 w 650631"/>
                  <a:gd name="connsiteY89" fmla="*/ 1901 h 290048"/>
                  <a:gd name="connsiteX90" fmla="*/ 399632 w 650631"/>
                  <a:gd name="connsiteY90" fmla="*/ 815 h 290048"/>
                  <a:gd name="connsiteX91" fmla="*/ 409255 w 650631"/>
                  <a:gd name="connsiteY91" fmla="*/ 0 h 290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</a:cxnLst>
                <a:rect l="l" t="t" r="r" b="b"/>
                <a:pathLst>
                  <a:path w="650631" h="290048">
                    <a:moveTo>
                      <a:pt x="409255" y="0"/>
                    </a:moveTo>
                    <a:cubicBezTo>
                      <a:pt x="411831" y="0"/>
                      <a:pt x="414270" y="272"/>
                      <a:pt x="418065" y="815"/>
                    </a:cubicBezTo>
                    <a:cubicBezTo>
                      <a:pt x="422403" y="815"/>
                      <a:pt x="432161" y="4618"/>
                      <a:pt x="435414" y="3531"/>
                    </a:cubicBezTo>
                    <a:cubicBezTo>
                      <a:pt x="443546" y="2988"/>
                      <a:pt x="441378" y="4618"/>
                      <a:pt x="448968" y="5704"/>
                    </a:cubicBezTo>
                    <a:cubicBezTo>
                      <a:pt x="455474" y="5704"/>
                      <a:pt x="458727" y="3531"/>
                      <a:pt x="467401" y="4618"/>
                    </a:cubicBezTo>
                    <a:cubicBezTo>
                      <a:pt x="473907" y="5704"/>
                      <a:pt x="480955" y="5704"/>
                      <a:pt x="487461" y="6791"/>
                    </a:cubicBezTo>
                    <a:cubicBezTo>
                      <a:pt x="515653" y="11680"/>
                      <a:pt x="534628" y="272"/>
                      <a:pt x="549266" y="1358"/>
                    </a:cubicBezTo>
                    <a:cubicBezTo>
                      <a:pt x="561193" y="2445"/>
                      <a:pt x="599686" y="2445"/>
                      <a:pt x="607276" y="4074"/>
                    </a:cubicBezTo>
                    <a:cubicBezTo>
                      <a:pt x="624083" y="9507"/>
                      <a:pt x="642516" y="12223"/>
                      <a:pt x="649022" y="37214"/>
                    </a:cubicBezTo>
                    <a:cubicBezTo>
                      <a:pt x="652275" y="46993"/>
                      <a:pt x="650106" y="71440"/>
                      <a:pt x="646853" y="81219"/>
                    </a:cubicBezTo>
                    <a:cubicBezTo>
                      <a:pt x="645227" y="87738"/>
                      <a:pt x="644142" y="94800"/>
                      <a:pt x="641974" y="101320"/>
                    </a:cubicBezTo>
                    <a:cubicBezTo>
                      <a:pt x="639263" y="110012"/>
                      <a:pt x="637637" y="109469"/>
                      <a:pt x="636552" y="119791"/>
                    </a:cubicBezTo>
                    <a:cubicBezTo>
                      <a:pt x="635468" y="128483"/>
                      <a:pt x="628962" y="154017"/>
                      <a:pt x="630047" y="159450"/>
                    </a:cubicBezTo>
                    <a:cubicBezTo>
                      <a:pt x="630047" y="168142"/>
                      <a:pt x="630589" y="173575"/>
                      <a:pt x="630589" y="182810"/>
                    </a:cubicBezTo>
                    <a:cubicBezTo>
                      <a:pt x="630589" y="188922"/>
                      <a:pt x="635468" y="197784"/>
                      <a:pt x="638823" y="216272"/>
                    </a:cubicBezTo>
                    <a:lnTo>
                      <a:pt x="639944" y="225701"/>
                    </a:lnTo>
                    <a:lnTo>
                      <a:pt x="637858" y="227616"/>
                    </a:lnTo>
                    <a:cubicBezTo>
                      <a:pt x="632593" y="232323"/>
                      <a:pt x="627459" y="236440"/>
                      <a:pt x="622696" y="238722"/>
                    </a:cubicBezTo>
                    <a:cubicBezTo>
                      <a:pt x="603646" y="247850"/>
                      <a:pt x="580230" y="251819"/>
                      <a:pt x="567927" y="257772"/>
                    </a:cubicBezTo>
                    <a:cubicBezTo>
                      <a:pt x="561776" y="260749"/>
                      <a:pt x="558501" y="262733"/>
                      <a:pt x="556021" y="265065"/>
                    </a:cubicBezTo>
                    <a:lnTo>
                      <a:pt x="551077" y="271554"/>
                    </a:lnTo>
                    <a:lnTo>
                      <a:pt x="549266" y="267017"/>
                    </a:lnTo>
                    <a:cubicBezTo>
                      <a:pt x="537881" y="267017"/>
                      <a:pt x="532459" y="280056"/>
                      <a:pt x="527038" y="288748"/>
                    </a:cubicBezTo>
                    <a:lnTo>
                      <a:pt x="529206" y="289291"/>
                    </a:lnTo>
                    <a:cubicBezTo>
                      <a:pt x="527580" y="290378"/>
                      <a:pt x="525411" y="290378"/>
                      <a:pt x="522701" y="288748"/>
                    </a:cubicBezTo>
                    <a:cubicBezTo>
                      <a:pt x="521616" y="286575"/>
                      <a:pt x="521616" y="281685"/>
                      <a:pt x="521616" y="278969"/>
                    </a:cubicBezTo>
                    <a:cubicBezTo>
                      <a:pt x="518363" y="272450"/>
                      <a:pt x="520532" y="280599"/>
                      <a:pt x="518363" y="275709"/>
                    </a:cubicBezTo>
                    <a:cubicBezTo>
                      <a:pt x="515110" y="270277"/>
                      <a:pt x="520532" y="264844"/>
                      <a:pt x="512942" y="255608"/>
                    </a:cubicBezTo>
                    <a:cubicBezTo>
                      <a:pt x="508605" y="248546"/>
                      <a:pt x="500472" y="240397"/>
                      <a:pt x="498304" y="233878"/>
                    </a:cubicBezTo>
                    <a:lnTo>
                      <a:pt x="480955" y="244743"/>
                    </a:lnTo>
                    <a:cubicBezTo>
                      <a:pt x="480955" y="244743"/>
                      <a:pt x="482039" y="246916"/>
                      <a:pt x="478786" y="246916"/>
                    </a:cubicBezTo>
                    <a:cubicBezTo>
                      <a:pt x="477702" y="246916"/>
                      <a:pt x="478786" y="245830"/>
                      <a:pt x="478786" y="244743"/>
                    </a:cubicBezTo>
                    <a:cubicBezTo>
                      <a:pt x="470112" y="249632"/>
                      <a:pt x="461437" y="253435"/>
                      <a:pt x="451679" y="256152"/>
                    </a:cubicBezTo>
                    <a:cubicBezTo>
                      <a:pt x="424029" y="264301"/>
                      <a:pt x="415355" y="263214"/>
                      <a:pt x="387163" y="262128"/>
                    </a:cubicBezTo>
                    <a:cubicBezTo>
                      <a:pt x="381199" y="261041"/>
                      <a:pt x="371440" y="258868"/>
                      <a:pt x="364934" y="257781"/>
                    </a:cubicBezTo>
                    <a:cubicBezTo>
                      <a:pt x="358971" y="257781"/>
                      <a:pt x="361139" y="259955"/>
                      <a:pt x="360055" y="256695"/>
                    </a:cubicBezTo>
                    <a:cubicBezTo>
                      <a:pt x="353549" y="256695"/>
                      <a:pt x="350296" y="255065"/>
                      <a:pt x="343791" y="253979"/>
                    </a:cubicBezTo>
                    <a:lnTo>
                      <a:pt x="310719" y="246373"/>
                    </a:lnTo>
                    <a:cubicBezTo>
                      <a:pt x="304756" y="244200"/>
                      <a:pt x="299876" y="243113"/>
                      <a:pt x="294455" y="242027"/>
                    </a:cubicBezTo>
                    <a:lnTo>
                      <a:pt x="294896" y="245277"/>
                    </a:lnTo>
                    <a:lnTo>
                      <a:pt x="291702" y="243484"/>
                    </a:lnTo>
                    <a:cubicBezTo>
                      <a:pt x="280590" y="239118"/>
                      <a:pt x="275826" y="238722"/>
                      <a:pt x="267889" y="238722"/>
                    </a:cubicBezTo>
                    <a:cubicBezTo>
                      <a:pt x="259952" y="238722"/>
                      <a:pt x="252014" y="239912"/>
                      <a:pt x="244077" y="243484"/>
                    </a:cubicBezTo>
                    <a:cubicBezTo>
                      <a:pt x="236140" y="247056"/>
                      <a:pt x="235742" y="251025"/>
                      <a:pt x="220264" y="260153"/>
                    </a:cubicBezTo>
                    <a:cubicBezTo>
                      <a:pt x="216395" y="262435"/>
                      <a:pt x="211260" y="263948"/>
                      <a:pt x="205456" y="265436"/>
                    </a:cubicBezTo>
                    <a:lnTo>
                      <a:pt x="200557" y="266772"/>
                    </a:lnTo>
                    <a:lnTo>
                      <a:pt x="188439" y="264675"/>
                    </a:lnTo>
                    <a:cubicBezTo>
                      <a:pt x="174640" y="258359"/>
                      <a:pt x="175860" y="245015"/>
                      <a:pt x="164881" y="239310"/>
                    </a:cubicBezTo>
                    <a:cubicBezTo>
                      <a:pt x="162170" y="238767"/>
                      <a:pt x="158375" y="237681"/>
                      <a:pt x="157290" y="233334"/>
                    </a:cubicBezTo>
                    <a:cubicBezTo>
                      <a:pt x="151869" y="221382"/>
                      <a:pt x="149158" y="225729"/>
                      <a:pt x="143194" y="215950"/>
                    </a:cubicBezTo>
                    <a:cubicBezTo>
                      <a:pt x="131809" y="198022"/>
                      <a:pt x="125303" y="211060"/>
                      <a:pt x="116629" y="215950"/>
                    </a:cubicBezTo>
                    <a:lnTo>
                      <a:pt x="101449" y="231161"/>
                    </a:lnTo>
                    <a:lnTo>
                      <a:pt x="91556" y="236386"/>
                    </a:lnTo>
                    <a:lnTo>
                      <a:pt x="86766" y="222797"/>
                    </a:lnTo>
                    <a:cubicBezTo>
                      <a:pt x="82053" y="216299"/>
                      <a:pt x="75802" y="210743"/>
                      <a:pt x="70246" y="207766"/>
                    </a:cubicBezTo>
                    <a:cubicBezTo>
                      <a:pt x="64690" y="204790"/>
                      <a:pt x="59531" y="203103"/>
                      <a:pt x="52982" y="203004"/>
                    </a:cubicBezTo>
                    <a:lnTo>
                      <a:pt x="29006" y="207464"/>
                    </a:lnTo>
                    <a:lnTo>
                      <a:pt x="29546" y="202504"/>
                    </a:lnTo>
                    <a:cubicBezTo>
                      <a:pt x="30834" y="199923"/>
                      <a:pt x="33138" y="198022"/>
                      <a:pt x="36933" y="194762"/>
                    </a:cubicBezTo>
                    <a:cubicBezTo>
                      <a:pt x="42354" y="190959"/>
                      <a:pt x="44523" y="187156"/>
                      <a:pt x="47776" y="182267"/>
                    </a:cubicBezTo>
                    <a:cubicBezTo>
                      <a:pt x="53197" y="167599"/>
                      <a:pt x="51571" y="168685"/>
                      <a:pt x="53197" y="155103"/>
                    </a:cubicBezTo>
                    <a:cubicBezTo>
                      <a:pt x="54282" y="147498"/>
                      <a:pt x="53197" y="150214"/>
                      <a:pt x="51571" y="145325"/>
                    </a:cubicBezTo>
                    <a:cubicBezTo>
                      <a:pt x="48318" y="140978"/>
                      <a:pt x="51571" y="129027"/>
                      <a:pt x="45607" y="126853"/>
                    </a:cubicBezTo>
                    <a:cubicBezTo>
                      <a:pt x="40728" y="125224"/>
                      <a:pt x="44523" y="125767"/>
                      <a:pt x="40728" y="121964"/>
                    </a:cubicBezTo>
                    <a:cubicBezTo>
                      <a:pt x="32053" y="120877"/>
                      <a:pt x="32053" y="125767"/>
                      <a:pt x="21210" y="118704"/>
                    </a:cubicBezTo>
                    <a:cubicBezTo>
                      <a:pt x="15247" y="113815"/>
                      <a:pt x="21210" y="122507"/>
                      <a:pt x="16331" y="113815"/>
                    </a:cubicBezTo>
                    <a:cubicBezTo>
                      <a:pt x="10909" y="104579"/>
                      <a:pt x="-4271" y="96974"/>
                      <a:pt x="1151" y="82849"/>
                    </a:cubicBezTo>
                    <a:cubicBezTo>
                      <a:pt x="3862" y="77416"/>
                      <a:pt x="22295" y="71983"/>
                      <a:pt x="33138" y="77416"/>
                    </a:cubicBezTo>
                    <a:cubicBezTo>
                      <a:pt x="38559" y="80675"/>
                      <a:pt x="57535" y="92627"/>
                      <a:pt x="62956" y="90454"/>
                    </a:cubicBezTo>
                    <a:cubicBezTo>
                      <a:pt x="74883" y="85022"/>
                      <a:pt x="46691" y="67094"/>
                      <a:pt x="42896" y="68180"/>
                    </a:cubicBezTo>
                    <a:cubicBezTo>
                      <a:pt x="39644" y="68724"/>
                      <a:pt x="41812" y="67094"/>
                      <a:pt x="37475" y="62748"/>
                    </a:cubicBezTo>
                    <a:cubicBezTo>
                      <a:pt x="28800" y="54599"/>
                      <a:pt x="25548" y="39387"/>
                      <a:pt x="32053" y="28522"/>
                    </a:cubicBezTo>
                    <a:cubicBezTo>
                      <a:pt x="33138" y="26892"/>
                      <a:pt x="35306" y="27978"/>
                      <a:pt x="36933" y="28522"/>
                    </a:cubicBezTo>
                    <a:cubicBezTo>
                      <a:pt x="39101" y="30151"/>
                      <a:pt x="38017" y="32324"/>
                      <a:pt x="38017" y="34498"/>
                    </a:cubicBezTo>
                    <a:cubicBezTo>
                      <a:pt x="39101" y="43190"/>
                      <a:pt x="43439" y="44276"/>
                      <a:pt x="48860" y="49709"/>
                    </a:cubicBezTo>
                    <a:cubicBezTo>
                      <a:pt x="55366" y="54599"/>
                      <a:pt x="68378" y="60574"/>
                      <a:pt x="75968" y="63291"/>
                    </a:cubicBezTo>
                    <a:cubicBezTo>
                      <a:pt x="85726" y="67637"/>
                      <a:pt x="94943" y="53512"/>
                      <a:pt x="110123" y="56772"/>
                    </a:cubicBezTo>
                    <a:cubicBezTo>
                      <a:pt x="111208" y="57858"/>
                      <a:pt x="116087" y="58945"/>
                      <a:pt x="117171" y="58945"/>
                    </a:cubicBezTo>
                    <a:cubicBezTo>
                      <a:pt x="122593" y="58945"/>
                      <a:pt x="120424" y="61661"/>
                      <a:pt x="125846" y="63834"/>
                    </a:cubicBezTo>
                    <a:cubicBezTo>
                      <a:pt x="131809" y="67094"/>
                      <a:pt x="135062" y="61118"/>
                      <a:pt x="139399" y="57315"/>
                    </a:cubicBezTo>
                    <a:cubicBezTo>
                      <a:pt x="143194" y="53512"/>
                      <a:pt x="144821" y="53512"/>
                      <a:pt x="149158" y="50796"/>
                    </a:cubicBezTo>
                    <a:cubicBezTo>
                      <a:pt x="153495" y="46449"/>
                      <a:pt x="151869" y="38844"/>
                      <a:pt x="158375" y="38844"/>
                    </a:cubicBezTo>
                    <a:cubicBezTo>
                      <a:pt x="170302" y="38844"/>
                      <a:pt x="164881" y="42103"/>
                      <a:pt x="180061" y="27435"/>
                    </a:cubicBezTo>
                    <a:cubicBezTo>
                      <a:pt x="189820" y="18743"/>
                      <a:pt x="186024" y="16570"/>
                      <a:pt x="203373" y="13310"/>
                    </a:cubicBezTo>
                    <a:cubicBezTo>
                      <a:pt x="208795" y="13310"/>
                      <a:pt x="215301" y="9507"/>
                      <a:pt x="220722" y="10594"/>
                    </a:cubicBezTo>
                    <a:cubicBezTo>
                      <a:pt x="229397" y="11680"/>
                      <a:pt x="231565" y="14397"/>
                      <a:pt x="240782" y="14397"/>
                    </a:cubicBezTo>
                    <a:cubicBezTo>
                      <a:pt x="262468" y="14397"/>
                      <a:pt x="305840" y="12767"/>
                      <a:pt x="324273" y="7877"/>
                    </a:cubicBezTo>
                    <a:cubicBezTo>
                      <a:pt x="335116" y="4618"/>
                      <a:pt x="332948" y="3531"/>
                      <a:pt x="344875" y="3531"/>
                    </a:cubicBezTo>
                    <a:cubicBezTo>
                      <a:pt x="349212" y="3531"/>
                      <a:pt x="354634" y="2988"/>
                      <a:pt x="360055" y="2988"/>
                    </a:cubicBezTo>
                    <a:cubicBezTo>
                      <a:pt x="366561" y="2988"/>
                      <a:pt x="372525" y="3531"/>
                      <a:pt x="379030" y="1901"/>
                    </a:cubicBezTo>
                    <a:cubicBezTo>
                      <a:pt x="388789" y="-272"/>
                      <a:pt x="392042" y="1901"/>
                      <a:pt x="399632" y="815"/>
                    </a:cubicBezTo>
                    <a:cubicBezTo>
                      <a:pt x="403970" y="272"/>
                      <a:pt x="406680" y="0"/>
                      <a:pt x="409255" y="0"/>
                    </a:cubicBezTo>
                    <a:close/>
                  </a:path>
                </a:pathLst>
              </a:custGeom>
              <a:solidFill>
                <a:srgbClr val="6E3C1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9" name="Freeform: Shape 148">
                <a:extLst>
                  <a:ext uri="{FF2B5EF4-FFF2-40B4-BE49-F238E27FC236}">
                    <a16:creationId xmlns:a16="http://schemas.microsoft.com/office/drawing/2014/main" id="{491EB965-0FCB-488D-A022-BDAEB6460C0C}"/>
                  </a:ext>
                </a:extLst>
              </p:cNvPr>
              <p:cNvSpPr>
                <a:spLocks noChangeAspect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5066985" y="5162552"/>
                <a:ext cx="64489" cy="42417"/>
              </a:xfrm>
              <a:custGeom>
                <a:avLst/>
                <a:gdLst>
                  <a:gd name="connsiteX0" fmla="*/ 25915 w 64489"/>
                  <a:gd name="connsiteY0" fmla="*/ 0 h 42417"/>
                  <a:gd name="connsiteX1" fmla="*/ 43179 w 64489"/>
                  <a:gd name="connsiteY1" fmla="*/ 4762 h 42417"/>
                  <a:gd name="connsiteX2" fmla="*/ 59699 w 64489"/>
                  <a:gd name="connsiteY2" fmla="*/ 19793 h 42417"/>
                  <a:gd name="connsiteX3" fmla="*/ 64489 w 64489"/>
                  <a:gd name="connsiteY3" fmla="*/ 33382 h 42417"/>
                  <a:gd name="connsiteX4" fmla="*/ 64352 w 64489"/>
                  <a:gd name="connsiteY4" fmla="*/ 33454 h 42417"/>
                  <a:gd name="connsiteX5" fmla="*/ 52696 w 64489"/>
                  <a:gd name="connsiteY5" fmla="*/ 39566 h 42417"/>
                  <a:gd name="connsiteX6" fmla="*/ 3360 w 64489"/>
                  <a:gd name="connsiteY6" fmla="*/ 34677 h 42417"/>
                  <a:gd name="connsiteX7" fmla="*/ 1191 w 64489"/>
                  <a:gd name="connsiteY7" fmla="*/ 11316 h 42417"/>
                  <a:gd name="connsiteX8" fmla="*/ 1939 w 64489"/>
                  <a:gd name="connsiteY8" fmla="*/ 4460 h 42417"/>
                  <a:gd name="connsiteX9" fmla="*/ 25915 w 64489"/>
                  <a:gd name="connsiteY9" fmla="*/ 0 h 42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4489" h="42417">
                    <a:moveTo>
                      <a:pt x="25915" y="0"/>
                    </a:moveTo>
                    <a:cubicBezTo>
                      <a:pt x="32464" y="99"/>
                      <a:pt x="37623" y="1786"/>
                      <a:pt x="43179" y="4762"/>
                    </a:cubicBezTo>
                    <a:cubicBezTo>
                      <a:pt x="48735" y="7739"/>
                      <a:pt x="54986" y="13295"/>
                      <a:pt x="59699" y="19793"/>
                    </a:cubicBezTo>
                    <a:lnTo>
                      <a:pt x="64489" y="33382"/>
                    </a:lnTo>
                    <a:lnTo>
                      <a:pt x="64352" y="33454"/>
                    </a:lnTo>
                    <a:cubicBezTo>
                      <a:pt x="60015" y="35492"/>
                      <a:pt x="55407" y="37665"/>
                      <a:pt x="52696" y="39566"/>
                    </a:cubicBezTo>
                    <a:cubicBezTo>
                      <a:pt x="42937" y="44999"/>
                      <a:pt x="13119" y="42282"/>
                      <a:pt x="3360" y="34677"/>
                    </a:cubicBezTo>
                    <a:cubicBezTo>
                      <a:pt x="-2604" y="30330"/>
                      <a:pt x="1191" y="17835"/>
                      <a:pt x="1191" y="11316"/>
                    </a:cubicBezTo>
                    <a:lnTo>
                      <a:pt x="1939" y="4460"/>
                    </a:lnTo>
                    <a:lnTo>
                      <a:pt x="25915" y="0"/>
                    </a:ln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  <p:grpSp>
            <p:nvGrpSpPr>
              <p:cNvPr id="150" name="Group 149">
                <a:extLst>
                  <a:ext uri="{FF2B5EF4-FFF2-40B4-BE49-F238E27FC236}">
                    <a16:creationId xmlns:a16="http://schemas.microsoft.com/office/drawing/2014/main" id="{E77F2DA7-441D-4DB0-9509-2765EB6BCE44}"/>
                  </a:ext>
                </a:extLst>
              </p:cNvPr>
              <p:cNvGrpSpPr/>
              <p:nvPr/>
            </p:nvGrpSpPr>
            <p:grpSpPr>
              <a:xfrm>
                <a:off x="5102760" y="5091906"/>
                <a:ext cx="27432" cy="18288"/>
                <a:chOff x="3880384" y="5576888"/>
                <a:chExt cx="393660" cy="195262"/>
              </a:xfrm>
            </p:grpSpPr>
            <p:sp>
              <p:nvSpPr>
                <p:cNvPr id="156" name="Oval 155">
                  <a:extLst>
                    <a:ext uri="{FF2B5EF4-FFF2-40B4-BE49-F238E27FC236}">
                      <a16:creationId xmlns:a16="http://schemas.microsoft.com/office/drawing/2014/main" id="{002D079A-1541-4147-B330-80FE6D1372CC}"/>
                    </a:ext>
                  </a:extLst>
                </p:cNvPr>
                <p:cNvSpPr/>
                <p:nvPr/>
              </p:nvSpPr>
              <p:spPr>
                <a:xfrm>
                  <a:off x="3880384" y="5576888"/>
                  <a:ext cx="393660" cy="195262"/>
                </a:xfrm>
                <a:prstGeom prst="ellipse">
                  <a:avLst/>
                </a:prstGeom>
                <a:solidFill>
                  <a:schemeClr val="tx1">
                    <a:lumMod val="95000"/>
                    <a:lumOff val="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57" name="Oval 156">
                  <a:extLst>
                    <a:ext uri="{FF2B5EF4-FFF2-40B4-BE49-F238E27FC236}">
                      <a16:creationId xmlns:a16="http://schemas.microsoft.com/office/drawing/2014/main" id="{4DE8CA5C-1E96-401F-BBDA-692FE1E42006}"/>
                    </a:ext>
                  </a:extLst>
                </p:cNvPr>
                <p:cNvSpPr/>
                <p:nvPr/>
              </p:nvSpPr>
              <p:spPr>
                <a:xfrm>
                  <a:off x="4159741" y="5641181"/>
                  <a:ext cx="66975" cy="66675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51" name="Group 150">
                <a:extLst>
                  <a:ext uri="{FF2B5EF4-FFF2-40B4-BE49-F238E27FC236}">
                    <a16:creationId xmlns:a16="http://schemas.microsoft.com/office/drawing/2014/main" id="{1DCFA094-4099-47E9-971C-56AA7F438A64}"/>
                  </a:ext>
                </a:extLst>
              </p:cNvPr>
              <p:cNvGrpSpPr/>
              <p:nvPr/>
            </p:nvGrpSpPr>
            <p:grpSpPr>
              <a:xfrm>
                <a:off x="5150385" y="5096668"/>
                <a:ext cx="27432" cy="18288"/>
                <a:chOff x="3880384" y="5576888"/>
                <a:chExt cx="393660" cy="195262"/>
              </a:xfrm>
            </p:grpSpPr>
            <p:sp>
              <p:nvSpPr>
                <p:cNvPr id="154" name="Oval 153">
                  <a:extLst>
                    <a:ext uri="{FF2B5EF4-FFF2-40B4-BE49-F238E27FC236}">
                      <a16:creationId xmlns:a16="http://schemas.microsoft.com/office/drawing/2014/main" id="{938DB068-2CD8-4292-A10B-5C58149618EA}"/>
                    </a:ext>
                  </a:extLst>
                </p:cNvPr>
                <p:cNvSpPr/>
                <p:nvPr/>
              </p:nvSpPr>
              <p:spPr>
                <a:xfrm>
                  <a:off x="3880384" y="5576888"/>
                  <a:ext cx="393660" cy="195262"/>
                </a:xfrm>
                <a:prstGeom prst="ellipse">
                  <a:avLst/>
                </a:prstGeom>
                <a:solidFill>
                  <a:schemeClr val="tx1">
                    <a:lumMod val="95000"/>
                    <a:lumOff val="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55" name="Oval 154">
                  <a:extLst>
                    <a:ext uri="{FF2B5EF4-FFF2-40B4-BE49-F238E27FC236}">
                      <a16:creationId xmlns:a16="http://schemas.microsoft.com/office/drawing/2014/main" id="{A80303BE-D947-4D53-92A5-0D23A97BA062}"/>
                    </a:ext>
                  </a:extLst>
                </p:cNvPr>
                <p:cNvSpPr/>
                <p:nvPr/>
              </p:nvSpPr>
              <p:spPr>
                <a:xfrm>
                  <a:off x="4159741" y="5641181"/>
                  <a:ext cx="66975" cy="66675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152" name="Freeform: Shape 151">
                <a:extLst>
                  <a:ext uri="{FF2B5EF4-FFF2-40B4-BE49-F238E27FC236}">
                    <a16:creationId xmlns:a16="http://schemas.microsoft.com/office/drawing/2014/main" id="{2F5083D8-FFC0-4DB2-A434-87CD75233A73}"/>
                  </a:ext>
                </a:extLst>
              </p:cNvPr>
              <p:cNvSpPr/>
              <p:nvPr/>
            </p:nvSpPr>
            <p:spPr>
              <a:xfrm>
                <a:off x="5560991" y="5185249"/>
                <a:ext cx="128582" cy="207139"/>
              </a:xfrm>
              <a:custGeom>
                <a:avLst/>
                <a:gdLst>
                  <a:gd name="connsiteX0" fmla="*/ 118870 w 128582"/>
                  <a:gd name="connsiteY0" fmla="*/ 0 h 207139"/>
                  <a:gd name="connsiteX1" fmla="*/ 120358 w 128582"/>
                  <a:gd name="connsiteY1" fmla="*/ 12523 h 207139"/>
                  <a:gd name="connsiteX2" fmla="*/ 126864 w 128582"/>
                  <a:gd name="connsiteY2" fmla="*/ 52181 h 207139"/>
                  <a:gd name="connsiteX3" fmla="*/ 121442 w 128582"/>
                  <a:gd name="connsiteY3" fmla="*/ 32624 h 207139"/>
                  <a:gd name="connsiteX4" fmla="*/ 117105 w 128582"/>
                  <a:gd name="connsiteY4" fmla="*/ 50008 h 207139"/>
                  <a:gd name="connsiteX5" fmla="*/ 124153 w 128582"/>
                  <a:gd name="connsiteY5" fmla="*/ 92927 h 207139"/>
                  <a:gd name="connsiteX6" fmla="*/ 124153 w 128582"/>
                  <a:gd name="connsiteY6" fmla="*/ 102706 h 207139"/>
                  <a:gd name="connsiteX7" fmla="*/ 126864 w 128582"/>
                  <a:gd name="connsiteY7" fmla="*/ 111941 h 207139"/>
                  <a:gd name="connsiteX8" fmla="*/ 121442 w 128582"/>
                  <a:gd name="connsiteY8" fmla="*/ 94013 h 207139"/>
                  <a:gd name="connsiteX9" fmla="*/ 118189 w 128582"/>
                  <a:gd name="connsiteY9" fmla="*/ 85321 h 207139"/>
                  <a:gd name="connsiteX10" fmla="*/ 117105 w 128582"/>
                  <a:gd name="connsiteY10" fmla="*/ 73369 h 207139"/>
                  <a:gd name="connsiteX11" fmla="*/ 114394 w 128582"/>
                  <a:gd name="connsiteY11" fmla="*/ 77715 h 207139"/>
                  <a:gd name="connsiteX12" fmla="*/ 114394 w 128582"/>
                  <a:gd name="connsiteY12" fmla="*/ 63047 h 207139"/>
                  <a:gd name="connsiteX13" fmla="*/ 112225 w 128582"/>
                  <a:gd name="connsiteY13" fmla="*/ 73369 h 207139"/>
                  <a:gd name="connsiteX14" fmla="*/ 113310 w 128582"/>
                  <a:gd name="connsiteY14" fmla="*/ 94013 h 207139"/>
                  <a:gd name="connsiteX15" fmla="*/ 116563 w 128582"/>
                  <a:gd name="connsiteY15" fmla="*/ 102706 h 207139"/>
                  <a:gd name="connsiteX16" fmla="*/ 107888 w 128582"/>
                  <a:gd name="connsiteY16" fmla="*/ 86407 h 207139"/>
                  <a:gd name="connsiteX17" fmla="*/ 105720 w 128582"/>
                  <a:gd name="connsiteY17" fmla="*/ 96730 h 207139"/>
                  <a:gd name="connsiteX18" fmla="*/ 101382 w 128582"/>
                  <a:gd name="connsiteY18" fmla="*/ 123893 h 207139"/>
                  <a:gd name="connsiteX19" fmla="*/ 102467 w 128582"/>
                  <a:gd name="connsiteY19" fmla="*/ 138561 h 207139"/>
                  <a:gd name="connsiteX20" fmla="*/ 102467 w 128582"/>
                  <a:gd name="connsiteY20" fmla="*/ 145624 h 207139"/>
                  <a:gd name="connsiteX21" fmla="*/ 102467 w 128582"/>
                  <a:gd name="connsiteY21" fmla="*/ 159749 h 207139"/>
                  <a:gd name="connsiteX22" fmla="*/ 105720 w 128582"/>
                  <a:gd name="connsiteY22" fmla="*/ 172244 h 207139"/>
                  <a:gd name="connsiteX23" fmla="*/ 94877 w 128582"/>
                  <a:gd name="connsiteY23" fmla="*/ 182023 h 207139"/>
                  <a:gd name="connsiteX24" fmla="*/ 97045 w 128582"/>
                  <a:gd name="connsiteY24" fmla="*/ 188542 h 207139"/>
                  <a:gd name="connsiteX25" fmla="*/ 94877 w 128582"/>
                  <a:gd name="connsiteY25" fmla="*/ 200494 h 207139"/>
                  <a:gd name="connsiteX26" fmla="*/ 67227 w 128582"/>
                  <a:gd name="connsiteY26" fmla="*/ 205384 h 207139"/>
                  <a:gd name="connsiteX27" fmla="*/ 61263 w 128582"/>
                  <a:gd name="connsiteY27" fmla="*/ 203211 h 207139"/>
                  <a:gd name="connsiteX28" fmla="*/ 47709 w 128582"/>
                  <a:gd name="connsiteY28" fmla="*/ 191802 h 207139"/>
                  <a:gd name="connsiteX29" fmla="*/ 48794 w 128582"/>
                  <a:gd name="connsiteY29" fmla="*/ 189629 h 207139"/>
                  <a:gd name="connsiteX30" fmla="*/ 50962 w 128582"/>
                  <a:gd name="connsiteY30" fmla="*/ 189629 h 207139"/>
                  <a:gd name="connsiteX31" fmla="*/ 52589 w 128582"/>
                  <a:gd name="connsiteY31" fmla="*/ 186369 h 207139"/>
                  <a:gd name="connsiteX32" fmla="*/ 54757 w 128582"/>
                  <a:gd name="connsiteY32" fmla="*/ 184739 h 207139"/>
                  <a:gd name="connsiteX33" fmla="*/ 64516 w 128582"/>
                  <a:gd name="connsiteY33" fmla="*/ 168985 h 207139"/>
                  <a:gd name="connsiteX34" fmla="*/ 66685 w 128582"/>
                  <a:gd name="connsiteY34" fmla="*/ 167355 h 207139"/>
                  <a:gd name="connsiteX35" fmla="*/ 79154 w 128582"/>
                  <a:gd name="connsiteY35" fmla="*/ 114658 h 207139"/>
                  <a:gd name="connsiteX36" fmla="*/ 82949 w 128582"/>
                  <a:gd name="connsiteY36" fmla="*/ 100533 h 207139"/>
                  <a:gd name="connsiteX37" fmla="*/ 72106 w 128582"/>
                  <a:gd name="connsiteY37" fmla="*/ 58701 h 207139"/>
                  <a:gd name="connsiteX38" fmla="*/ 65600 w 128582"/>
                  <a:gd name="connsiteY38" fmla="*/ 71196 h 207139"/>
                  <a:gd name="connsiteX39" fmla="*/ 61263 w 128582"/>
                  <a:gd name="connsiteY39" fmla="*/ 78258 h 207139"/>
                  <a:gd name="connsiteX40" fmla="*/ 58552 w 128582"/>
                  <a:gd name="connsiteY40" fmla="*/ 83148 h 207139"/>
                  <a:gd name="connsiteX41" fmla="*/ 53131 w 128582"/>
                  <a:gd name="connsiteY41" fmla="*/ 110311 h 207139"/>
                  <a:gd name="connsiteX42" fmla="*/ 52047 w 128582"/>
                  <a:gd name="connsiteY42" fmla="*/ 116831 h 207139"/>
                  <a:gd name="connsiteX43" fmla="*/ 47167 w 128582"/>
                  <a:gd name="connsiteY43" fmla="*/ 115744 h 207139"/>
                  <a:gd name="connsiteX44" fmla="*/ 35782 w 128582"/>
                  <a:gd name="connsiteY44" fmla="*/ 126609 h 207139"/>
                  <a:gd name="connsiteX45" fmla="*/ 27650 w 128582"/>
                  <a:gd name="connsiteY45" fmla="*/ 129326 h 207139"/>
                  <a:gd name="connsiteX46" fmla="*/ 0 w 128582"/>
                  <a:gd name="connsiteY46" fmla="*/ 124436 h 207139"/>
                  <a:gd name="connsiteX47" fmla="*/ 2169 w 128582"/>
                  <a:gd name="connsiteY47" fmla="*/ 116831 h 207139"/>
                  <a:gd name="connsiteX48" fmla="*/ 3795 w 128582"/>
                  <a:gd name="connsiteY48" fmla="*/ 113571 h 207139"/>
                  <a:gd name="connsiteX49" fmla="*/ 3795 w 128582"/>
                  <a:gd name="connsiteY49" fmla="*/ 110855 h 207139"/>
                  <a:gd name="connsiteX50" fmla="*/ 7048 w 128582"/>
                  <a:gd name="connsiteY50" fmla="*/ 113571 h 207139"/>
                  <a:gd name="connsiteX51" fmla="*/ 20060 w 128582"/>
                  <a:gd name="connsiteY51" fmla="*/ 103792 h 207139"/>
                  <a:gd name="connsiteX52" fmla="*/ 29276 w 128582"/>
                  <a:gd name="connsiteY52" fmla="*/ 93470 h 207139"/>
                  <a:gd name="connsiteX53" fmla="*/ 42288 w 128582"/>
                  <a:gd name="connsiteY53" fmla="*/ 62504 h 207139"/>
                  <a:gd name="connsiteX54" fmla="*/ 35782 w 128582"/>
                  <a:gd name="connsiteY54" fmla="*/ 46206 h 207139"/>
                  <a:gd name="connsiteX55" fmla="*/ 30361 w 128582"/>
                  <a:gd name="connsiteY55" fmla="*/ 46749 h 207139"/>
                  <a:gd name="connsiteX56" fmla="*/ 30003 w 128582"/>
                  <a:gd name="connsiteY56" fmla="*/ 45853 h 207139"/>
                  <a:gd name="connsiteX57" fmla="*/ 34947 w 128582"/>
                  <a:gd name="connsiteY57" fmla="*/ 39364 h 207139"/>
                  <a:gd name="connsiteX58" fmla="*/ 46853 w 128582"/>
                  <a:gd name="connsiteY58" fmla="*/ 32071 h 207139"/>
                  <a:gd name="connsiteX59" fmla="*/ 101622 w 128582"/>
                  <a:gd name="connsiteY59" fmla="*/ 13021 h 207139"/>
                  <a:gd name="connsiteX60" fmla="*/ 116784 w 128582"/>
                  <a:gd name="connsiteY60" fmla="*/ 1915 h 207139"/>
                  <a:gd name="connsiteX61" fmla="*/ 118870 w 128582"/>
                  <a:gd name="connsiteY61" fmla="*/ 0 h 207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128582" h="207139">
                    <a:moveTo>
                      <a:pt x="118870" y="0"/>
                    </a:moveTo>
                    <a:lnTo>
                      <a:pt x="120358" y="12523"/>
                    </a:lnTo>
                    <a:cubicBezTo>
                      <a:pt x="121442" y="30451"/>
                      <a:pt x="132827" y="44576"/>
                      <a:pt x="126864" y="52181"/>
                    </a:cubicBezTo>
                    <a:cubicBezTo>
                      <a:pt x="123611" y="47292"/>
                      <a:pt x="130116" y="44576"/>
                      <a:pt x="121442" y="32624"/>
                    </a:cubicBezTo>
                    <a:cubicBezTo>
                      <a:pt x="122526" y="42403"/>
                      <a:pt x="116563" y="41316"/>
                      <a:pt x="117105" y="50008"/>
                    </a:cubicBezTo>
                    <a:cubicBezTo>
                      <a:pt x="121984" y="73369"/>
                      <a:pt x="123068" y="64677"/>
                      <a:pt x="124153" y="92927"/>
                    </a:cubicBezTo>
                    <a:lnTo>
                      <a:pt x="124153" y="102706"/>
                    </a:lnTo>
                    <a:cubicBezTo>
                      <a:pt x="125779" y="107052"/>
                      <a:pt x="126864" y="104335"/>
                      <a:pt x="126864" y="111941"/>
                    </a:cubicBezTo>
                    <a:cubicBezTo>
                      <a:pt x="121442" y="110311"/>
                      <a:pt x="121442" y="98903"/>
                      <a:pt x="121442" y="94013"/>
                    </a:cubicBezTo>
                    <a:cubicBezTo>
                      <a:pt x="121442" y="90210"/>
                      <a:pt x="119273" y="88037"/>
                      <a:pt x="118189" y="85321"/>
                    </a:cubicBezTo>
                    <a:cubicBezTo>
                      <a:pt x="117105" y="80975"/>
                      <a:pt x="117105" y="77715"/>
                      <a:pt x="117105" y="73369"/>
                    </a:cubicBezTo>
                    <a:cubicBezTo>
                      <a:pt x="115478" y="78802"/>
                      <a:pt x="118189" y="75542"/>
                      <a:pt x="114394" y="77715"/>
                    </a:cubicBezTo>
                    <a:cubicBezTo>
                      <a:pt x="114394" y="68480"/>
                      <a:pt x="117105" y="71196"/>
                      <a:pt x="114394" y="63047"/>
                    </a:cubicBezTo>
                    <a:cubicBezTo>
                      <a:pt x="114394" y="67936"/>
                      <a:pt x="112225" y="69566"/>
                      <a:pt x="112225" y="73369"/>
                    </a:cubicBezTo>
                    <a:cubicBezTo>
                      <a:pt x="112225" y="79888"/>
                      <a:pt x="110057" y="87494"/>
                      <a:pt x="113310" y="94013"/>
                    </a:cubicBezTo>
                    <a:cubicBezTo>
                      <a:pt x="115478" y="96730"/>
                      <a:pt x="118189" y="99446"/>
                      <a:pt x="116563" y="102706"/>
                    </a:cubicBezTo>
                    <a:cubicBezTo>
                      <a:pt x="114394" y="101619"/>
                      <a:pt x="108973" y="87494"/>
                      <a:pt x="107888" y="86407"/>
                    </a:cubicBezTo>
                    <a:cubicBezTo>
                      <a:pt x="105720" y="89124"/>
                      <a:pt x="107888" y="92927"/>
                      <a:pt x="105720" y="96730"/>
                    </a:cubicBezTo>
                    <a:cubicBezTo>
                      <a:pt x="103551" y="105422"/>
                      <a:pt x="103551" y="115201"/>
                      <a:pt x="101382" y="123893"/>
                    </a:cubicBezTo>
                    <a:cubicBezTo>
                      <a:pt x="100840" y="128239"/>
                      <a:pt x="101382" y="135845"/>
                      <a:pt x="102467" y="138561"/>
                    </a:cubicBezTo>
                    <a:lnTo>
                      <a:pt x="102467" y="145624"/>
                    </a:lnTo>
                    <a:cubicBezTo>
                      <a:pt x="101382" y="148884"/>
                      <a:pt x="102467" y="154316"/>
                      <a:pt x="102467" y="159749"/>
                    </a:cubicBezTo>
                    <a:cubicBezTo>
                      <a:pt x="102467" y="168985"/>
                      <a:pt x="102467" y="165725"/>
                      <a:pt x="105720" y="172244"/>
                    </a:cubicBezTo>
                    <a:cubicBezTo>
                      <a:pt x="108973" y="180936"/>
                      <a:pt x="92708" y="174417"/>
                      <a:pt x="94877" y="182023"/>
                    </a:cubicBezTo>
                    <a:cubicBezTo>
                      <a:pt x="95961" y="184739"/>
                      <a:pt x="95961" y="183653"/>
                      <a:pt x="97045" y="188542"/>
                    </a:cubicBezTo>
                    <a:cubicBezTo>
                      <a:pt x="98130" y="193432"/>
                      <a:pt x="99214" y="196148"/>
                      <a:pt x="94877" y="200494"/>
                    </a:cubicBezTo>
                    <a:cubicBezTo>
                      <a:pt x="87286" y="207557"/>
                      <a:pt x="76443" y="208643"/>
                      <a:pt x="67227" y="205384"/>
                    </a:cubicBezTo>
                    <a:cubicBezTo>
                      <a:pt x="60179" y="204297"/>
                      <a:pt x="64516" y="205384"/>
                      <a:pt x="61263" y="203211"/>
                    </a:cubicBezTo>
                    <a:cubicBezTo>
                      <a:pt x="58552" y="201581"/>
                      <a:pt x="42288" y="198321"/>
                      <a:pt x="47709" y="191802"/>
                    </a:cubicBezTo>
                    <a:lnTo>
                      <a:pt x="48794" y="189629"/>
                    </a:lnTo>
                    <a:cubicBezTo>
                      <a:pt x="52047" y="186369"/>
                      <a:pt x="48794" y="190715"/>
                      <a:pt x="50962" y="189629"/>
                    </a:cubicBezTo>
                    <a:cubicBezTo>
                      <a:pt x="52589" y="186369"/>
                      <a:pt x="52047" y="187456"/>
                      <a:pt x="52589" y="186369"/>
                    </a:cubicBezTo>
                    <a:cubicBezTo>
                      <a:pt x="52589" y="184739"/>
                      <a:pt x="52589" y="185283"/>
                      <a:pt x="54757" y="184739"/>
                    </a:cubicBezTo>
                    <a:cubicBezTo>
                      <a:pt x="58010" y="182023"/>
                      <a:pt x="63432" y="172244"/>
                      <a:pt x="64516" y="168985"/>
                    </a:cubicBezTo>
                    <a:cubicBezTo>
                      <a:pt x="66685" y="165182"/>
                      <a:pt x="64516" y="167355"/>
                      <a:pt x="66685" y="167355"/>
                    </a:cubicBezTo>
                    <a:cubicBezTo>
                      <a:pt x="74275" y="149427"/>
                      <a:pt x="78070" y="134215"/>
                      <a:pt x="79154" y="114658"/>
                    </a:cubicBezTo>
                    <a:cubicBezTo>
                      <a:pt x="80239" y="108682"/>
                      <a:pt x="81323" y="106508"/>
                      <a:pt x="82949" y="100533"/>
                    </a:cubicBezTo>
                    <a:cubicBezTo>
                      <a:pt x="78612" y="84778"/>
                      <a:pt x="77528" y="73912"/>
                      <a:pt x="72106" y="58701"/>
                    </a:cubicBezTo>
                    <a:lnTo>
                      <a:pt x="65600" y="71196"/>
                    </a:lnTo>
                    <a:cubicBezTo>
                      <a:pt x="63432" y="73912"/>
                      <a:pt x="63432" y="74999"/>
                      <a:pt x="61263" y="78258"/>
                    </a:cubicBezTo>
                    <a:cubicBezTo>
                      <a:pt x="61263" y="80975"/>
                      <a:pt x="60721" y="78258"/>
                      <a:pt x="58552" y="83148"/>
                    </a:cubicBezTo>
                    <a:cubicBezTo>
                      <a:pt x="54215" y="95643"/>
                      <a:pt x="51504" y="97273"/>
                      <a:pt x="53131" y="110311"/>
                    </a:cubicBezTo>
                    <a:cubicBezTo>
                      <a:pt x="54215" y="114658"/>
                      <a:pt x="50420" y="111941"/>
                      <a:pt x="52047" y="116831"/>
                    </a:cubicBezTo>
                    <a:lnTo>
                      <a:pt x="47167" y="115744"/>
                    </a:lnTo>
                    <a:cubicBezTo>
                      <a:pt x="36324" y="131499"/>
                      <a:pt x="40661" y="123350"/>
                      <a:pt x="35782" y="126609"/>
                    </a:cubicBezTo>
                    <a:cubicBezTo>
                      <a:pt x="30903" y="130412"/>
                      <a:pt x="35782" y="129326"/>
                      <a:pt x="27650" y="129326"/>
                    </a:cubicBezTo>
                    <a:cubicBezTo>
                      <a:pt x="13554" y="129869"/>
                      <a:pt x="10843" y="125523"/>
                      <a:pt x="0" y="124436"/>
                    </a:cubicBezTo>
                    <a:cubicBezTo>
                      <a:pt x="1084" y="123350"/>
                      <a:pt x="1084" y="120090"/>
                      <a:pt x="2169" y="116831"/>
                    </a:cubicBezTo>
                    <a:cubicBezTo>
                      <a:pt x="2169" y="116831"/>
                      <a:pt x="7048" y="119004"/>
                      <a:pt x="3795" y="113571"/>
                    </a:cubicBezTo>
                    <a:lnTo>
                      <a:pt x="3795" y="110855"/>
                    </a:lnTo>
                    <a:lnTo>
                      <a:pt x="7048" y="113571"/>
                    </a:lnTo>
                    <a:cubicBezTo>
                      <a:pt x="13012" y="109768"/>
                      <a:pt x="14096" y="107052"/>
                      <a:pt x="20060" y="103792"/>
                    </a:cubicBezTo>
                    <a:cubicBezTo>
                      <a:pt x="25481" y="99989"/>
                      <a:pt x="25481" y="98903"/>
                      <a:pt x="29276" y="93470"/>
                    </a:cubicBezTo>
                    <a:cubicBezTo>
                      <a:pt x="34698" y="83691"/>
                      <a:pt x="39035" y="72826"/>
                      <a:pt x="42288" y="62504"/>
                    </a:cubicBezTo>
                    <a:cubicBezTo>
                      <a:pt x="31445" y="54898"/>
                      <a:pt x="39577" y="56528"/>
                      <a:pt x="35782" y="46206"/>
                    </a:cubicBezTo>
                    <a:cubicBezTo>
                      <a:pt x="33613" y="46749"/>
                      <a:pt x="35782" y="48922"/>
                      <a:pt x="30361" y="46749"/>
                    </a:cubicBezTo>
                    <a:lnTo>
                      <a:pt x="30003" y="45853"/>
                    </a:lnTo>
                    <a:lnTo>
                      <a:pt x="34947" y="39364"/>
                    </a:lnTo>
                    <a:cubicBezTo>
                      <a:pt x="37427" y="37032"/>
                      <a:pt x="40702" y="35048"/>
                      <a:pt x="46853" y="32071"/>
                    </a:cubicBezTo>
                    <a:cubicBezTo>
                      <a:pt x="59156" y="26118"/>
                      <a:pt x="82572" y="22149"/>
                      <a:pt x="101622" y="13021"/>
                    </a:cubicBezTo>
                    <a:cubicBezTo>
                      <a:pt x="106385" y="10739"/>
                      <a:pt x="111519" y="6622"/>
                      <a:pt x="116784" y="1915"/>
                    </a:cubicBezTo>
                    <a:lnTo>
                      <a:pt x="118870" y="0"/>
                    </a:lnTo>
                    <a:close/>
                  </a:path>
                </a:pathLst>
              </a:custGeom>
              <a:solidFill>
                <a:srgbClr val="9E6C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3" name="Freeform: Shape 152">
                <a:extLst>
                  <a:ext uri="{FF2B5EF4-FFF2-40B4-BE49-F238E27FC236}">
                    <a16:creationId xmlns:a16="http://schemas.microsoft.com/office/drawing/2014/main" id="{B3557FC2-5EE9-4E1C-B624-2CCF5528191D}"/>
                  </a:ext>
                </a:extLst>
              </p:cNvPr>
              <p:cNvSpPr/>
              <p:nvPr/>
            </p:nvSpPr>
            <p:spPr>
              <a:xfrm>
                <a:off x="5214556" y="5198270"/>
                <a:ext cx="139520" cy="158421"/>
              </a:xfrm>
              <a:custGeom>
                <a:avLst/>
                <a:gdLst>
                  <a:gd name="connsiteX0" fmla="*/ 93250 w 139520"/>
                  <a:gd name="connsiteY0" fmla="*/ 0 h 158421"/>
                  <a:gd name="connsiteX1" fmla="*/ 117063 w 139520"/>
                  <a:gd name="connsiteY1" fmla="*/ 4762 h 158421"/>
                  <a:gd name="connsiteX2" fmla="*/ 120257 w 139520"/>
                  <a:gd name="connsiteY2" fmla="*/ 6555 h 158421"/>
                  <a:gd name="connsiteX3" fmla="*/ 120968 w 139520"/>
                  <a:gd name="connsiteY3" fmla="*/ 11793 h 158421"/>
                  <a:gd name="connsiteX4" fmla="*/ 122527 w 139520"/>
                  <a:gd name="connsiteY4" fmla="*/ 20689 h 158421"/>
                  <a:gd name="connsiteX5" fmla="*/ 125779 w 139520"/>
                  <a:gd name="connsiteY5" fmla="*/ 56545 h 158421"/>
                  <a:gd name="connsiteX6" fmla="*/ 126864 w 139520"/>
                  <a:gd name="connsiteY6" fmla="*/ 71757 h 158421"/>
                  <a:gd name="connsiteX7" fmla="*/ 136622 w 139520"/>
                  <a:gd name="connsiteY7" fmla="*/ 112502 h 158421"/>
                  <a:gd name="connsiteX8" fmla="*/ 137707 w 139520"/>
                  <a:gd name="connsiteY8" fmla="*/ 119021 h 158421"/>
                  <a:gd name="connsiteX9" fmla="*/ 137707 w 139520"/>
                  <a:gd name="connsiteY9" fmla="*/ 133689 h 158421"/>
                  <a:gd name="connsiteX10" fmla="*/ 131743 w 139520"/>
                  <a:gd name="connsiteY10" fmla="*/ 129887 h 158421"/>
                  <a:gd name="connsiteX11" fmla="*/ 130659 w 139520"/>
                  <a:gd name="connsiteY11" fmla="*/ 129887 h 158421"/>
                  <a:gd name="connsiteX12" fmla="*/ 130659 w 139520"/>
                  <a:gd name="connsiteY12" fmla="*/ 148901 h 158421"/>
                  <a:gd name="connsiteX13" fmla="*/ 126864 w 139520"/>
                  <a:gd name="connsiteY13" fmla="*/ 154334 h 158421"/>
                  <a:gd name="connsiteX14" fmla="*/ 124695 w 139520"/>
                  <a:gd name="connsiteY14" fmla="*/ 153247 h 158421"/>
                  <a:gd name="connsiteX15" fmla="*/ 121984 w 139520"/>
                  <a:gd name="connsiteY15" fmla="*/ 158137 h 158421"/>
                  <a:gd name="connsiteX16" fmla="*/ 102467 w 139520"/>
                  <a:gd name="connsiteY16" fmla="*/ 158137 h 158421"/>
                  <a:gd name="connsiteX17" fmla="*/ 91624 w 139520"/>
                  <a:gd name="connsiteY17" fmla="*/ 143468 h 158421"/>
                  <a:gd name="connsiteX18" fmla="*/ 95961 w 139520"/>
                  <a:gd name="connsiteY18" fmla="*/ 138579 h 158421"/>
                  <a:gd name="connsiteX19" fmla="*/ 98672 w 139520"/>
                  <a:gd name="connsiteY19" fmla="*/ 136406 h 158421"/>
                  <a:gd name="connsiteX20" fmla="*/ 104636 w 139520"/>
                  <a:gd name="connsiteY20" fmla="*/ 127713 h 158421"/>
                  <a:gd name="connsiteX21" fmla="*/ 106262 w 139520"/>
                  <a:gd name="connsiteY21" fmla="*/ 80449 h 158421"/>
                  <a:gd name="connsiteX22" fmla="*/ 104636 w 139520"/>
                  <a:gd name="connsiteY22" fmla="*/ 78276 h 158421"/>
                  <a:gd name="connsiteX23" fmla="*/ 104636 w 139520"/>
                  <a:gd name="connsiteY23" fmla="*/ 76103 h 158421"/>
                  <a:gd name="connsiteX24" fmla="*/ 100298 w 139520"/>
                  <a:gd name="connsiteY24" fmla="*/ 73386 h 158421"/>
                  <a:gd name="connsiteX25" fmla="*/ 100298 w 139520"/>
                  <a:gd name="connsiteY25" fmla="*/ 71213 h 158421"/>
                  <a:gd name="connsiteX26" fmla="*/ 91624 w 139520"/>
                  <a:gd name="connsiteY26" fmla="*/ 61435 h 158421"/>
                  <a:gd name="connsiteX27" fmla="*/ 80239 w 139520"/>
                  <a:gd name="connsiteY27" fmla="*/ 30468 h 158421"/>
                  <a:gd name="connsiteX28" fmla="*/ 78070 w 139520"/>
                  <a:gd name="connsiteY28" fmla="*/ 23949 h 158421"/>
                  <a:gd name="connsiteX29" fmla="*/ 73733 w 139520"/>
                  <a:gd name="connsiteY29" fmla="*/ 16343 h 158421"/>
                  <a:gd name="connsiteX30" fmla="*/ 71022 w 139520"/>
                  <a:gd name="connsiteY30" fmla="*/ 29925 h 158421"/>
                  <a:gd name="connsiteX31" fmla="*/ 68854 w 139520"/>
                  <a:gd name="connsiteY31" fmla="*/ 36444 h 158421"/>
                  <a:gd name="connsiteX32" fmla="*/ 68854 w 139520"/>
                  <a:gd name="connsiteY32" fmla="*/ 37531 h 158421"/>
                  <a:gd name="connsiteX33" fmla="*/ 66685 w 139520"/>
                  <a:gd name="connsiteY33" fmla="*/ 45136 h 158421"/>
                  <a:gd name="connsiteX34" fmla="*/ 61806 w 139520"/>
                  <a:gd name="connsiteY34" fmla="*/ 61435 h 158421"/>
                  <a:gd name="connsiteX35" fmla="*/ 60721 w 139520"/>
                  <a:gd name="connsiteY35" fmla="*/ 70127 h 158421"/>
                  <a:gd name="connsiteX36" fmla="*/ 57468 w 139520"/>
                  <a:gd name="connsiteY36" fmla="*/ 85338 h 158421"/>
                  <a:gd name="connsiteX37" fmla="*/ 56926 w 139520"/>
                  <a:gd name="connsiteY37" fmla="*/ 103810 h 158421"/>
                  <a:gd name="connsiteX38" fmla="*/ 54758 w 139520"/>
                  <a:gd name="connsiteY38" fmla="*/ 118478 h 158421"/>
                  <a:gd name="connsiteX39" fmla="*/ 47167 w 139520"/>
                  <a:gd name="connsiteY39" fmla="*/ 122824 h 158421"/>
                  <a:gd name="connsiteX40" fmla="*/ 44999 w 139520"/>
                  <a:gd name="connsiteY40" fmla="*/ 123367 h 158421"/>
                  <a:gd name="connsiteX41" fmla="*/ 43915 w 139520"/>
                  <a:gd name="connsiteY41" fmla="*/ 124454 h 158421"/>
                  <a:gd name="connsiteX42" fmla="*/ 42830 w 139520"/>
                  <a:gd name="connsiteY42" fmla="*/ 136406 h 158421"/>
                  <a:gd name="connsiteX43" fmla="*/ 39035 w 139520"/>
                  <a:gd name="connsiteY43" fmla="*/ 141295 h 158421"/>
                  <a:gd name="connsiteX44" fmla="*/ 16265 w 139520"/>
                  <a:gd name="connsiteY44" fmla="*/ 142382 h 158421"/>
                  <a:gd name="connsiteX45" fmla="*/ 0 w 139520"/>
                  <a:gd name="connsiteY45" fmla="*/ 135863 h 158421"/>
                  <a:gd name="connsiteX46" fmla="*/ 7048 w 139520"/>
                  <a:gd name="connsiteY46" fmla="*/ 130430 h 158421"/>
                  <a:gd name="connsiteX47" fmla="*/ 8133 w 139520"/>
                  <a:gd name="connsiteY47" fmla="*/ 129343 h 158421"/>
                  <a:gd name="connsiteX48" fmla="*/ 15723 w 139520"/>
                  <a:gd name="connsiteY48" fmla="*/ 121738 h 158421"/>
                  <a:gd name="connsiteX49" fmla="*/ 20602 w 139520"/>
                  <a:gd name="connsiteY49" fmla="*/ 116305 h 158421"/>
                  <a:gd name="connsiteX50" fmla="*/ 37951 w 139520"/>
                  <a:gd name="connsiteY50" fmla="*/ 64151 h 158421"/>
                  <a:gd name="connsiteX51" fmla="*/ 33614 w 139520"/>
                  <a:gd name="connsiteY51" fmla="*/ 29382 h 158421"/>
                  <a:gd name="connsiteX52" fmla="*/ 25918 w 139520"/>
                  <a:gd name="connsiteY52" fmla="*/ 28050 h 158421"/>
                  <a:gd name="connsiteX53" fmla="*/ 30817 w 139520"/>
                  <a:gd name="connsiteY53" fmla="*/ 26714 h 158421"/>
                  <a:gd name="connsiteX54" fmla="*/ 45625 w 139520"/>
                  <a:gd name="connsiteY54" fmla="*/ 21431 h 158421"/>
                  <a:gd name="connsiteX55" fmla="*/ 69438 w 139520"/>
                  <a:gd name="connsiteY55" fmla="*/ 4762 h 158421"/>
                  <a:gd name="connsiteX56" fmla="*/ 93250 w 139520"/>
                  <a:gd name="connsiteY56" fmla="*/ 0 h 1584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139520" h="158421">
                    <a:moveTo>
                      <a:pt x="93250" y="0"/>
                    </a:moveTo>
                    <a:cubicBezTo>
                      <a:pt x="101187" y="0"/>
                      <a:pt x="105951" y="396"/>
                      <a:pt x="117063" y="4762"/>
                    </a:cubicBezTo>
                    <a:lnTo>
                      <a:pt x="120257" y="6555"/>
                    </a:lnTo>
                    <a:lnTo>
                      <a:pt x="120968" y="11793"/>
                    </a:lnTo>
                    <a:cubicBezTo>
                      <a:pt x="121578" y="15393"/>
                      <a:pt x="122256" y="19060"/>
                      <a:pt x="122527" y="20689"/>
                    </a:cubicBezTo>
                    <a:cubicBezTo>
                      <a:pt x="123611" y="28295"/>
                      <a:pt x="127948" y="50026"/>
                      <a:pt x="125779" y="56545"/>
                    </a:cubicBezTo>
                    <a:cubicBezTo>
                      <a:pt x="124695" y="65237"/>
                      <a:pt x="125779" y="63064"/>
                      <a:pt x="126864" y="71757"/>
                    </a:cubicBezTo>
                    <a:cubicBezTo>
                      <a:pt x="129032" y="91858"/>
                      <a:pt x="132285" y="97290"/>
                      <a:pt x="136622" y="112502"/>
                    </a:cubicBezTo>
                    <a:cubicBezTo>
                      <a:pt x="137707" y="114132"/>
                      <a:pt x="136622" y="116848"/>
                      <a:pt x="137707" y="119021"/>
                    </a:cubicBezTo>
                    <a:cubicBezTo>
                      <a:pt x="138249" y="124997"/>
                      <a:pt x="141502" y="128257"/>
                      <a:pt x="137707" y="133689"/>
                    </a:cubicBezTo>
                    <a:cubicBezTo>
                      <a:pt x="134996" y="132603"/>
                      <a:pt x="131743" y="130973"/>
                      <a:pt x="131743" y="129887"/>
                    </a:cubicBezTo>
                    <a:lnTo>
                      <a:pt x="130659" y="129887"/>
                    </a:lnTo>
                    <a:cubicBezTo>
                      <a:pt x="129032" y="135319"/>
                      <a:pt x="134996" y="147271"/>
                      <a:pt x="130659" y="148901"/>
                    </a:cubicBezTo>
                    <a:cubicBezTo>
                      <a:pt x="125779" y="152161"/>
                      <a:pt x="127948" y="148901"/>
                      <a:pt x="126864" y="154334"/>
                    </a:cubicBezTo>
                    <a:cubicBezTo>
                      <a:pt x="124695" y="154334"/>
                      <a:pt x="129032" y="154334"/>
                      <a:pt x="124695" y="153247"/>
                    </a:cubicBezTo>
                    <a:cubicBezTo>
                      <a:pt x="122527" y="156507"/>
                      <a:pt x="122527" y="155420"/>
                      <a:pt x="121984" y="158137"/>
                    </a:cubicBezTo>
                    <a:cubicBezTo>
                      <a:pt x="119816" y="157050"/>
                      <a:pt x="105720" y="158137"/>
                      <a:pt x="102467" y="158137"/>
                    </a:cubicBezTo>
                    <a:cubicBezTo>
                      <a:pt x="91624" y="159766"/>
                      <a:pt x="81323" y="154334"/>
                      <a:pt x="91624" y="143468"/>
                    </a:cubicBezTo>
                    <a:cubicBezTo>
                      <a:pt x="94877" y="140209"/>
                      <a:pt x="93792" y="139665"/>
                      <a:pt x="95961" y="138579"/>
                    </a:cubicBezTo>
                    <a:cubicBezTo>
                      <a:pt x="98672" y="137492"/>
                      <a:pt x="97045" y="139665"/>
                      <a:pt x="98672" y="136406"/>
                    </a:cubicBezTo>
                    <a:lnTo>
                      <a:pt x="104636" y="127713"/>
                    </a:lnTo>
                    <a:cubicBezTo>
                      <a:pt x="113310" y="119021"/>
                      <a:pt x="106262" y="90771"/>
                      <a:pt x="106262" y="80449"/>
                    </a:cubicBezTo>
                    <a:cubicBezTo>
                      <a:pt x="103551" y="79362"/>
                      <a:pt x="104636" y="81536"/>
                      <a:pt x="104636" y="78276"/>
                    </a:cubicBezTo>
                    <a:cubicBezTo>
                      <a:pt x="104636" y="76103"/>
                      <a:pt x="105720" y="79362"/>
                      <a:pt x="104636" y="76103"/>
                    </a:cubicBezTo>
                    <a:lnTo>
                      <a:pt x="100298" y="73386"/>
                    </a:lnTo>
                    <a:cubicBezTo>
                      <a:pt x="100298" y="72300"/>
                      <a:pt x="95419" y="72300"/>
                      <a:pt x="100298" y="71213"/>
                    </a:cubicBezTo>
                    <a:cubicBezTo>
                      <a:pt x="95961" y="66867"/>
                      <a:pt x="95961" y="66867"/>
                      <a:pt x="91624" y="61435"/>
                    </a:cubicBezTo>
                    <a:cubicBezTo>
                      <a:pt x="85660" y="50569"/>
                      <a:pt x="87829" y="40247"/>
                      <a:pt x="80239" y="30468"/>
                    </a:cubicBezTo>
                    <a:lnTo>
                      <a:pt x="78070" y="23949"/>
                    </a:lnTo>
                    <a:cubicBezTo>
                      <a:pt x="76986" y="21233"/>
                      <a:pt x="75901" y="19059"/>
                      <a:pt x="73733" y="16343"/>
                    </a:cubicBezTo>
                    <a:cubicBezTo>
                      <a:pt x="71022" y="21233"/>
                      <a:pt x="72106" y="25035"/>
                      <a:pt x="71022" y="29925"/>
                    </a:cubicBezTo>
                    <a:cubicBezTo>
                      <a:pt x="71022" y="31555"/>
                      <a:pt x="69938" y="34271"/>
                      <a:pt x="68854" y="36444"/>
                    </a:cubicBezTo>
                    <a:lnTo>
                      <a:pt x="68854" y="37531"/>
                    </a:lnTo>
                    <a:lnTo>
                      <a:pt x="66685" y="45136"/>
                    </a:lnTo>
                    <a:cubicBezTo>
                      <a:pt x="62890" y="52742"/>
                      <a:pt x="63974" y="47853"/>
                      <a:pt x="61806" y="61435"/>
                    </a:cubicBezTo>
                    <a:cubicBezTo>
                      <a:pt x="60721" y="64694"/>
                      <a:pt x="60721" y="66867"/>
                      <a:pt x="60721" y="70127"/>
                    </a:cubicBezTo>
                    <a:cubicBezTo>
                      <a:pt x="60721" y="72843"/>
                      <a:pt x="58553" y="75560"/>
                      <a:pt x="57468" y="85338"/>
                    </a:cubicBezTo>
                    <a:lnTo>
                      <a:pt x="56926" y="103810"/>
                    </a:lnTo>
                    <a:cubicBezTo>
                      <a:pt x="56926" y="114675"/>
                      <a:pt x="57468" y="108699"/>
                      <a:pt x="54758" y="118478"/>
                    </a:cubicBezTo>
                    <a:cubicBezTo>
                      <a:pt x="52589" y="122824"/>
                      <a:pt x="52047" y="123367"/>
                      <a:pt x="47167" y="122824"/>
                    </a:cubicBezTo>
                    <a:cubicBezTo>
                      <a:pt x="47167" y="122824"/>
                      <a:pt x="44999" y="121738"/>
                      <a:pt x="44999" y="123367"/>
                    </a:cubicBezTo>
                    <a:lnTo>
                      <a:pt x="43915" y="124454"/>
                    </a:lnTo>
                    <a:cubicBezTo>
                      <a:pt x="43915" y="128800"/>
                      <a:pt x="43915" y="132060"/>
                      <a:pt x="42830" y="136406"/>
                    </a:cubicBezTo>
                    <a:cubicBezTo>
                      <a:pt x="39035" y="144555"/>
                      <a:pt x="40119" y="140209"/>
                      <a:pt x="39035" y="141295"/>
                    </a:cubicBezTo>
                    <a:cubicBezTo>
                      <a:pt x="31445" y="143468"/>
                      <a:pt x="24397" y="142382"/>
                      <a:pt x="16265" y="142382"/>
                    </a:cubicBezTo>
                    <a:cubicBezTo>
                      <a:pt x="5964" y="142382"/>
                      <a:pt x="2169" y="142382"/>
                      <a:pt x="0" y="135863"/>
                    </a:cubicBezTo>
                    <a:cubicBezTo>
                      <a:pt x="2711" y="132060"/>
                      <a:pt x="3795" y="131516"/>
                      <a:pt x="7048" y="130430"/>
                    </a:cubicBezTo>
                    <a:cubicBezTo>
                      <a:pt x="9759" y="128257"/>
                      <a:pt x="3795" y="132060"/>
                      <a:pt x="8133" y="129343"/>
                    </a:cubicBezTo>
                    <a:lnTo>
                      <a:pt x="15723" y="121738"/>
                    </a:lnTo>
                    <a:cubicBezTo>
                      <a:pt x="18433" y="117391"/>
                      <a:pt x="16265" y="118478"/>
                      <a:pt x="20602" y="116305"/>
                    </a:cubicBezTo>
                    <a:cubicBezTo>
                      <a:pt x="32529" y="110329"/>
                      <a:pt x="39035" y="70670"/>
                      <a:pt x="37951" y="64151"/>
                    </a:cubicBezTo>
                    <a:cubicBezTo>
                      <a:pt x="37951" y="60348"/>
                      <a:pt x="24939" y="41877"/>
                      <a:pt x="33614" y="29382"/>
                    </a:cubicBezTo>
                    <a:lnTo>
                      <a:pt x="25918" y="28050"/>
                    </a:lnTo>
                    <a:lnTo>
                      <a:pt x="30817" y="26714"/>
                    </a:lnTo>
                    <a:cubicBezTo>
                      <a:pt x="36621" y="25226"/>
                      <a:pt x="41756" y="23713"/>
                      <a:pt x="45625" y="21431"/>
                    </a:cubicBezTo>
                    <a:cubicBezTo>
                      <a:pt x="61103" y="12303"/>
                      <a:pt x="61501" y="8334"/>
                      <a:pt x="69438" y="4762"/>
                    </a:cubicBezTo>
                    <a:cubicBezTo>
                      <a:pt x="77375" y="1190"/>
                      <a:pt x="85313" y="0"/>
                      <a:pt x="93250" y="0"/>
                    </a:cubicBezTo>
                    <a:close/>
                  </a:path>
                </a:pathLst>
              </a:custGeom>
              <a:solidFill>
                <a:srgbClr val="9E6C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77" name="Group 176">
            <a:extLst>
              <a:ext uri="{FF2B5EF4-FFF2-40B4-BE49-F238E27FC236}">
                <a16:creationId xmlns:a16="http://schemas.microsoft.com/office/drawing/2014/main" id="{28739E69-209A-49AB-A54F-BA5EACB9EA25}"/>
              </a:ext>
            </a:extLst>
          </p:cNvPr>
          <p:cNvGrpSpPr/>
          <p:nvPr/>
        </p:nvGrpSpPr>
        <p:grpSpPr>
          <a:xfrm>
            <a:off x="6327825" y="4806444"/>
            <a:ext cx="690505" cy="319328"/>
            <a:chOff x="4957157" y="3325130"/>
            <a:chExt cx="1179199" cy="545328"/>
          </a:xfrm>
        </p:grpSpPr>
        <p:sp>
          <p:nvSpPr>
            <p:cNvPr id="169" name="Bomber">
              <a:extLst>
                <a:ext uri="{FF2B5EF4-FFF2-40B4-BE49-F238E27FC236}">
                  <a16:creationId xmlns:a16="http://schemas.microsoft.com/office/drawing/2014/main" id="{D5EC2D47-2F33-4A59-8EFB-873388438A31}"/>
                </a:ext>
              </a:extLst>
            </p:cNvPr>
            <p:cNvSpPr>
              <a:spLocks noChangeAspect="1" noEditPoints="1"/>
            </p:cNvSpPr>
            <p:nvPr>
              <p:custDataLst>
                <p:tags r:id="rId3"/>
              </p:custDataLst>
            </p:nvPr>
          </p:nvSpPr>
          <p:spPr bwMode="auto">
            <a:xfrm>
              <a:off x="4957157" y="3325130"/>
              <a:ext cx="1179199" cy="542925"/>
            </a:xfrm>
            <a:custGeom>
              <a:avLst/>
              <a:gdLst>
                <a:gd name="T0" fmla="*/ 3957 w 10434"/>
                <a:gd name="T1" fmla="*/ 4679 h 4794"/>
                <a:gd name="T2" fmla="*/ 4736 w 10434"/>
                <a:gd name="T3" fmla="*/ 4596 h 4794"/>
                <a:gd name="T4" fmla="*/ 4868 w 10434"/>
                <a:gd name="T5" fmla="*/ 4577 h 4794"/>
                <a:gd name="T6" fmla="*/ 4911 w 10434"/>
                <a:gd name="T7" fmla="*/ 4681 h 4794"/>
                <a:gd name="T8" fmla="*/ 4860 w 10434"/>
                <a:gd name="T9" fmla="*/ 4785 h 4794"/>
                <a:gd name="T10" fmla="*/ 4745 w 10434"/>
                <a:gd name="T11" fmla="*/ 4769 h 4794"/>
                <a:gd name="T12" fmla="*/ 4021 w 10434"/>
                <a:gd name="T13" fmla="*/ 4470 h 4794"/>
                <a:gd name="T14" fmla="*/ 4360 w 10434"/>
                <a:gd name="T15" fmla="*/ 4275 h 4794"/>
                <a:gd name="T16" fmla="*/ 4799 w 10434"/>
                <a:gd name="T17" fmla="*/ 4295 h 4794"/>
                <a:gd name="T18" fmla="*/ 4901 w 10434"/>
                <a:gd name="T19" fmla="*/ 4281 h 4794"/>
                <a:gd name="T20" fmla="*/ 4899 w 10434"/>
                <a:gd name="T21" fmla="*/ 4465 h 4794"/>
                <a:gd name="T22" fmla="*/ 4719 w 10434"/>
                <a:gd name="T23" fmla="*/ 4468 h 4794"/>
                <a:gd name="T24" fmla="*/ 4021 w 10434"/>
                <a:gd name="T25" fmla="*/ 4470 h 4794"/>
                <a:gd name="T26" fmla="*/ 4799 w 10434"/>
                <a:gd name="T27" fmla="*/ 4166 h 4794"/>
                <a:gd name="T28" fmla="*/ 4346 w 10434"/>
                <a:gd name="T29" fmla="*/ 4187 h 4794"/>
                <a:gd name="T30" fmla="*/ 3982 w 10434"/>
                <a:gd name="T31" fmla="*/ 4153 h 4794"/>
                <a:gd name="T32" fmla="*/ 4349 w 10434"/>
                <a:gd name="T33" fmla="*/ 3981 h 4794"/>
                <a:gd name="T34" fmla="*/ 4801 w 10434"/>
                <a:gd name="T35" fmla="*/ 3999 h 4794"/>
                <a:gd name="T36" fmla="*/ 4901 w 10434"/>
                <a:gd name="T37" fmla="*/ 3981 h 4794"/>
                <a:gd name="T38" fmla="*/ 4892 w 10434"/>
                <a:gd name="T39" fmla="*/ 4189 h 4794"/>
                <a:gd name="T40" fmla="*/ 4839 w 10434"/>
                <a:gd name="T41" fmla="*/ 4191 h 4794"/>
                <a:gd name="T42" fmla="*/ 3981 w 10434"/>
                <a:gd name="T43" fmla="*/ 3711 h 4794"/>
                <a:gd name="T44" fmla="*/ 4720 w 10434"/>
                <a:gd name="T45" fmla="*/ 3700 h 4794"/>
                <a:gd name="T46" fmla="*/ 4857 w 10434"/>
                <a:gd name="T47" fmla="*/ 3675 h 4794"/>
                <a:gd name="T48" fmla="*/ 4907 w 10434"/>
                <a:gd name="T49" fmla="*/ 3887 h 4794"/>
                <a:gd name="T50" fmla="*/ 4802 w 10434"/>
                <a:gd name="T51" fmla="*/ 3869 h 4794"/>
                <a:gd name="T52" fmla="*/ 4349 w 10434"/>
                <a:gd name="T53" fmla="*/ 3887 h 4794"/>
                <a:gd name="T54" fmla="*/ 3983 w 10434"/>
                <a:gd name="T55" fmla="*/ 3854 h 4794"/>
                <a:gd name="T56" fmla="*/ 3382 w 10434"/>
                <a:gd name="T57" fmla="*/ 3442 h 4794"/>
                <a:gd name="T58" fmla="*/ 2261 w 10434"/>
                <a:gd name="T59" fmla="*/ 3330 h 4794"/>
                <a:gd name="T60" fmla="*/ 89 w 10434"/>
                <a:gd name="T61" fmla="*/ 2819 h 4794"/>
                <a:gd name="T62" fmla="*/ 634 w 10434"/>
                <a:gd name="T63" fmla="*/ 2400 h 4794"/>
                <a:gd name="T64" fmla="*/ 8042 w 10434"/>
                <a:gd name="T65" fmla="*/ 2387 h 4794"/>
                <a:gd name="T66" fmla="*/ 8345 w 10434"/>
                <a:gd name="T67" fmla="*/ 1994 h 4794"/>
                <a:gd name="T68" fmla="*/ 8751 w 10434"/>
                <a:gd name="T69" fmla="*/ 1478 h 4794"/>
                <a:gd name="T70" fmla="*/ 9308 w 10434"/>
                <a:gd name="T71" fmla="*/ 768 h 4794"/>
                <a:gd name="T72" fmla="*/ 9652 w 10434"/>
                <a:gd name="T73" fmla="*/ 331 h 4794"/>
                <a:gd name="T74" fmla="*/ 9881 w 10434"/>
                <a:gd name="T75" fmla="*/ 47 h 4794"/>
                <a:gd name="T76" fmla="*/ 10122 w 10434"/>
                <a:gd name="T77" fmla="*/ 0 h 4794"/>
                <a:gd name="T78" fmla="*/ 10296 w 10434"/>
                <a:gd name="T79" fmla="*/ 128 h 4794"/>
                <a:gd name="T80" fmla="*/ 9965 w 10434"/>
                <a:gd name="T81" fmla="*/ 1581 h 4794"/>
                <a:gd name="T82" fmla="*/ 9813 w 10434"/>
                <a:gd name="T83" fmla="*/ 2253 h 4794"/>
                <a:gd name="T84" fmla="*/ 10084 w 10434"/>
                <a:gd name="T85" fmla="*/ 2392 h 4794"/>
                <a:gd name="T86" fmla="*/ 10377 w 10434"/>
                <a:gd name="T87" fmla="*/ 2884 h 4794"/>
                <a:gd name="T88" fmla="*/ 7345 w 10434"/>
                <a:gd name="T89" fmla="*/ 3277 h 4794"/>
                <a:gd name="T90" fmla="*/ 5451 w 10434"/>
                <a:gd name="T91" fmla="*/ 3331 h 4794"/>
                <a:gd name="T92" fmla="*/ 5444 w 10434"/>
                <a:gd name="T93" fmla="*/ 3549 h 4794"/>
                <a:gd name="T94" fmla="*/ 3390 w 10434"/>
                <a:gd name="T95" fmla="*/ 3541 h 4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434" h="4794">
                  <a:moveTo>
                    <a:pt x="4012" y="4769"/>
                  </a:moveTo>
                  <a:cubicBezTo>
                    <a:pt x="3971" y="4751"/>
                    <a:pt x="3957" y="4729"/>
                    <a:pt x="3957" y="4679"/>
                  </a:cubicBezTo>
                  <a:cubicBezTo>
                    <a:pt x="3957" y="4584"/>
                    <a:pt x="3994" y="4575"/>
                    <a:pt x="4369" y="4575"/>
                  </a:cubicBezTo>
                  <a:cubicBezTo>
                    <a:pt x="4627" y="4575"/>
                    <a:pt x="4686" y="4578"/>
                    <a:pt x="4736" y="4596"/>
                  </a:cubicBezTo>
                  <a:cubicBezTo>
                    <a:pt x="4792" y="4616"/>
                    <a:pt x="4796" y="4616"/>
                    <a:pt x="4811" y="4595"/>
                  </a:cubicBezTo>
                  <a:cubicBezTo>
                    <a:pt x="4822" y="4580"/>
                    <a:pt x="4840" y="4574"/>
                    <a:pt x="4868" y="4577"/>
                  </a:cubicBezTo>
                  <a:lnTo>
                    <a:pt x="4909" y="4581"/>
                  </a:lnTo>
                  <a:lnTo>
                    <a:pt x="4911" y="4681"/>
                  </a:lnTo>
                  <a:lnTo>
                    <a:pt x="4913" y="4781"/>
                  </a:lnTo>
                  <a:lnTo>
                    <a:pt x="4860" y="4785"/>
                  </a:lnTo>
                  <a:cubicBezTo>
                    <a:pt x="4819" y="4788"/>
                    <a:pt x="4807" y="4784"/>
                    <a:pt x="4807" y="4769"/>
                  </a:cubicBezTo>
                  <a:cubicBezTo>
                    <a:pt x="4807" y="4745"/>
                    <a:pt x="4786" y="4745"/>
                    <a:pt x="4745" y="4769"/>
                  </a:cubicBezTo>
                  <a:cubicBezTo>
                    <a:pt x="4701" y="4794"/>
                    <a:pt x="4070" y="4794"/>
                    <a:pt x="4012" y="4769"/>
                  </a:cubicBezTo>
                  <a:close/>
                  <a:moveTo>
                    <a:pt x="4021" y="4470"/>
                  </a:moveTo>
                  <a:cubicBezTo>
                    <a:pt x="3971" y="4452"/>
                    <a:pt x="3954" y="4415"/>
                    <a:pt x="3965" y="4353"/>
                  </a:cubicBezTo>
                  <a:cubicBezTo>
                    <a:pt x="3979" y="4281"/>
                    <a:pt x="4010" y="4275"/>
                    <a:pt x="4360" y="4275"/>
                  </a:cubicBezTo>
                  <a:cubicBezTo>
                    <a:pt x="4614" y="4275"/>
                    <a:pt x="4673" y="4278"/>
                    <a:pt x="4723" y="4296"/>
                  </a:cubicBezTo>
                  <a:cubicBezTo>
                    <a:pt x="4779" y="4316"/>
                    <a:pt x="4783" y="4316"/>
                    <a:pt x="4799" y="4295"/>
                  </a:cubicBezTo>
                  <a:cubicBezTo>
                    <a:pt x="4810" y="4279"/>
                    <a:pt x="4828" y="4274"/>
                    <a:pt x="4858" y="4277"/>
                  </a:cubicBezTo>
                  <a:lnTo>
                    <a:pt x="4901" y="4281"/>
                  </a:lnTo>
                  <a:lnTo>
                    <a:pt x="4903" y="4362"/>
                  </a:lnTo>
                  <a:cubicBezTo>
                    <a:pt x="4905" y="4407"/>
                    <a:pt x="4903" y="4453"/>
                    <a:pt x="4899" y="4465"/>
                  </a:cubicBezTo>
                  <a:cubicBezTo>
                    <a:pt x="4891" y="4494"/>
                    <a:pt x="4822" y="4495"/>
                    <a:pt x="4802" y="4467"/>
                  </a:cubicBezTo>
                  <a:cubicBezTo>
                    <a:pt x="4789" y="4449"/>
                    <a:pt x="4782" y="4449"/>
                    <a:pt x="4719" y="4468"/>
                  </a:cubicBezTo>
                  <a:cubicBezTo>
                    <a:pt x="4664" y="4484"/>
                    <a:pt x="4596" y="4487"/>
                    <a:pt x="4357" y="4486"/>
                  </a:cubicBezTo>
                  <a:cubicBezTo>
                    <a:pt x="4165" y="4485"/>
                    <a:pt x="4049" y="4479"/>
                    <a:pt x="4021" y="4470"/>
                  </a:cubicBezTo>
                  <a:close/>
                  <a:moveTo>
                    <a:pt x="4839" y="4191"/>
                  </a:moveTo>
                  <a:cubicBezTo>
                    <a:pt x="4825" y="4188"/>
                    <a:pt x="4807" y="4177"/>
                    <a:pt x="4799" y="4166"/>
                  </a:cubicBezTo>
                  <a:cubicBezTo>
                    <a:pt x="4785" y="4149"/>
                    <a:pt x="4779" y="4149"/>
                    <a:pt x="4733" y="4167"/>
                  </a:cubicBezTo>
                  <a:cubicBezTo>
                    <a:pt x="4690" y="4184"/>
                    <a:pt x="4627" y="4187"/>
                    <a:pt x="4346" y="4187"/>
                  </a:cubicBezTo>
                  <a:lnTo>
                    <a:pt x="4009" y="4187"/>
                  </a:lnTo>
                  <a:lnTo>
                    <a:pt x="3982" y="4153"/>
                  </a:lnTo>
                  <a:cubicBezTo>
                    <a:pt x="3961" y="4126"/>
                    <a:pt x="3957" y="4108"/>
                    <a:pt x="3962" y="4070"/>
                  </a:cubicBezTo>
                  <a:cubicBezTo>
                    <a:pt x="3974" y="3980"/>
                    <a:pt x="3968" y="3981"/>
                    <a:pt x="4349" y="3981"/>
                  </a:cubicBezTo>
                  <a:cubicBezTo>
                    <a:pt x="4642" y="3981"/>
                    <a:pt x="4696" y="3984"/>
                    <a:pt x="4741" y="4003"/>
                  </a:cubicBezTo>
                  <a:cubicBezTo>
                    <a:pt x="4792" y="4024"/>
                    <a:pt x="4794" y="4023"/>
                    <a:pt x="4801" y="3999"/>
                  </a:cubicBezTo>
                  <a:cubicBezTo>
                    <a:pt x="4808" y="3978"/>
                    <a:pt x="4818" y="3974"/>
                    <a:pt x="4855" y="3977"/>
                  </a:cubicBezTo>
                  <a:lnTo>
                    <a:pt x="4901" y="3981"/>
                  </a:lnTo>
                  <a:lnTo>
                    <a:pt x="4905" y="4080"/>
                  </a:lnTo>
                  <a:cubicBezTo>
                    <a:pt x="4908" y="4151"/>
                    <a:pt x="4904" y="4182"/>
                    <a:pt x="4892" y="4189"/>
                  </a:cubicBezTo>
                  <a:cubicBezTo>
                    <a:pt x="4883" y="4195"/>
                    <a:pt x="4873" y="4199"/>
                    <a:pt x="4870" y="4198"/>
                  </a:cubicBezTo>
                  <a:cubicBezTo>
                    <a:pt x="4867" y="4197"/>
                    <a:pt x="4852" y="4194"/>
                    <a:pt x="4839" y="4191"/>
                  </a:cubicBezTo>
                  <a:close/>
                  <a:moveTo>
                    <a:pt x="3983" y="3854"/>
                  </a:moveTo>
                  <a:cubicBezTo>
                    <a:pt x="3951" y="3813"/>
                    <a:pt x="3950" y="3749"/>
                    <a:pt x="3981" y="3711"/>
                  </a:cubicBezTo>
                  <a:cubicBezTo>
                    <a:pt x="4005" y="3681"/>
                    <a:pt x="4006" y="3681"/>
                    <a:pt x="4336" y="3677"/>
                  </a:cubicBezTo>
                  <a:cubicBezTo>
                    <a:pt x="4654" y="3673"/>
                    <a:pt x="4669" y="3674"/>
                    <a:pt x="4720" y="3700"/>
                  </a:cubicBezTo>
                  <a:cubicBezTo>
                    <a:pt x="4775" y="3728"/>
                    <a:pt x="4807" y="3726"/>
                    <a:pt x="4807" y="3694"/>
                  </a:cubicBezTo>
                  <a:cubicBezTo>
                    <a:pt x="4807" y="3680"/>
                    <a:pt x="4821" y="3675"/>
                    <a:pt x="4857" y="3675"/>
                  </a:cubicBezTo>
                  <a:lnTo>
                    <a:pt x="4907" y="3675"/>
                  </a:lnTo>
                  <a:lnTo>
                    <a:pt x="4907" y="3887"/>
                  </a:lnTo>
                  <a:lnTo>
                    <a:pt x="4862" y="3887"/>
                  </a:lnTo>
                  <a:cubicBezTo>
                    <a:pt x="4837" y="3887"/>
                    <a:pt x="4810" y="3879"/>
                    <a:pt x="4802" y="3869"/>
                  </a:cubicBezTo>
                  <a:cubicBezTo>
                    <a:pt x="4790" y="3854"/>
                    <a:pt x="4782" y="3854"/>
                    <a:pt x="4739" y="3869"/>
                  </a:cubicBezTo>
                  <a:cubicBezTo>
                    <a:pt x="4700" y="3883"/>
                    <a:pt x="4611" y="3887"/>
                    <a:pt x="4349" y="3887"/>
                  </a:cubicBezTo>
                  <a:lnTo>
                    <a:pt x="4009" y="3887"/>
                  </a:lnTo>
                  <a:lnTo>
                    <a:pt x="3983" y="3854"/>
                  </a:lnTo>
                  <a:close/>
                  <a:moveTo>
                    <a:pt x="3390" y="3541"/>
                  </a:moveTo>
                  <a:cubicBezTo>
                    <a:pt x="3386" y="3537"/>
                    <a:pt x="3382" y="3492"/>
                    <a:pt x="3382" y="3442"/>
                  </a:cubicBezTo>
                  <a:cubicBezTo>
                    <a:pt x="3382" y="3392"/>
                    <a:pt x="3377" y="3348"/>
                    <a:pt x="3370" y="3344"/>
                  </a:cubicBezTo>
                  <a:cubicBezTo>
                    <a:pt x="3363" y="3340"/>
                    <a:pt x="2864" y="3333"/>
                    <a:pt x="2261" y="3330"/>
                  </a:cubicBezTo>
                  <a:cubicBezTo>
                    <a:pt x="1029" y="3323"/>
                    <a:pt x="1061" y="3325"/>
                    <a:pt x="677" y="3229"/>
                  </a:cubicBezTo>
                  <a:cubicBezTo>
                    <a:pt x="233" y="3117"/>
                    <a:pt x="0" y="2955"/>
                    <a:pt x="89" y="2819"/>
                  </a:cubicBezTo>
                  <a:cubicBezTo>
                    <a:pt x="108" y="2791"/>
                    <a:pt x="197" y="2715"/>
                    <a:pt x="395" y="2556"/>
                  </a:cubicBezTo>
                  <a:cubicBezTo>
                    <a:pt x="555" y="2429"/>
                    <a:pt x="578" y="2413"/>
                    <a:pt x="634" y="2400"/>
                  </a:cubicBezTo>
                  <a:cubicBezTo>
                    <a:pt x="670" y="2392"/>
                    <a:pt x="1950" y="2388"/>
                    <a:pt x="4365" y="2388"/>
                  </a:cubicBezTo>
                  <a:lnTo>
                    <a:pt x="8042" y="2387"/>
                  </a:lnTo>
                  <a:lnTo>
                    <a:pt x="8062" y="2356"/>
                  </a:lnTo>
                  <a:cubicBezTo>
                    <a:pt x="8080" y="2329"/>
                    <a:pt x="8184" y="2196"/>
                    <a:pt x="8345" y="1994"/>
                  </a:cubicBezTo>
                  <a:cubicBezTo>
                    <a:pt x="8373" y="1959"/>
                    <a:pt x="8453" y="1857"/>
                    <a:pt x="8523" y="1767"/>
                  </a:cubicBezTo>
                  <a:cubicBezTo>
                    <a:pt x="8593" y="1677"/>
                    <a:pt x="8696" y="1547"/>
                    <a:pt x="8751" y="1478"/>
                  </a:cubicBezTo>
                  <a:cubicBezTo>
                    <a:pt x="8851" y="1353"/>
                    <a:pt x="9116" y="1014"/>
                    <a:pt x="9164" y="951"/>
                  </a:cubicBezTo>
                  <a:cubicBezTo>
                    <a:pt x="9177" y="933"/>
                    <a:pt x="9242" y="851"/>
                    <a:pt x="9308" y="768"/>
                  </a:cubicBezTo>
                  <a:cubicBezTo>
                    <a:pt x="9374" y="686"/>
                    <a:pt x="9475" y="557"/>
                    <a:pt x="9532" y="481"/>
                  </a:cubicBezTo>
                  <a:cubicBezTo>
                    <a:pt x="9590" y="405"/>
                    <a:pt x="9644" y="338"/>
                    <a:pt x="9652" y="331"/>
                  </a:cubicBezTo>
                  <a:cubicBezTo>
                    <a:pt x="9660" y="324"/>
                    <a:pt x="9704" y="268"/>
                    <a:pt x="9751" y="206"/>
                  </a:cubicBezTo>
                  <a:cubicBezTo>
                    <a:pt x="9798" y="144"/>
                    <a:pt x="9856" y="72"/>
                    <a:pt x="9881" y="47"/>
                  </a:cubicBezTo>
                  <a:lnTo>
                    <a:pt x="9925" y="0"/>
                  </a:lnTo>
                  <a:lnTo>
                    <a:pt x="10122" y="0"/>
                  </a:lnTo>
                  <a:cubicBezTo>
                    <a:pt x="10250" y="0"/>
                    <a:pt x="10320" y="4"/>
                    <a:pt x="10320" y="13"/>
                  </a:cubicBezTo>
                  <a:cubicBezTo>
                    <a:pt x="10320" y="20"/>
                    <a:pt x="10309" y="72"/>
                    <a:pt x="10296" y="128"/>
                  </a:cubicBezTo>
                  <a:cubicBezTo>
                    <a:pt x="10266" y="256"/>
                    <a:pt x="10136" y="825"/>
                    <a:pt x="10076" y="1094"/>
                  </a:cubicBezTo>
                  <a:cubicBezTo>
                    <a:pt x="10031" y="1295"/>
                    <a:pt x="10023" y="1328"/>
                    <a:pt x="9965" y="1581"/>
                  </a:cubicBezTo>
                  <a:cubicBezTo>
                    <a:pt x="9947" y="1657"/>
                    <a:pt x="9913" y="1811"/>
                    <a:pt x="9889" y="1923"/>
                  </a:cubicBezTo>
                  <a:cubicBezTo>
                    <a:pt x="9864" y="2036"/>
                    <a:pt x="9830" y="2185"/>
                    <a:pt x="9813" y="2253"/>
                  </a:cubicBezTo>
                  <a:cubicBezTo>
                    <a:pt x="9788" y="2352"/>
                    <a:pt x="9784" y="2381"/>
                    <a:pt x="9797" y="2389"/>
                  </a:cubicBezTo>
                  <a:cubicBezTo>
                    <a:pt x="9806" y="2394"/>
                    <a:pt x="9935" y="2395"/>
                    <a:pt x="10084" y="2392"/>
                  </a:cubicBezTo>
                  <a:cubicBezTo>
                    <a:pt x="10434" y="2383"/>
                    <a:pt x="10407" y="2362"/>
                    <a:pt x="10407" y="2643"/>
                  </a:cubicBezTo>
                  <a:cubicBezTo>
                    <a:pt x="10406" y="2841"/>
                    <a:pt x="10405" y="2850"/>
                    <a:pt x="10377" y="2884"/>
                  </a:cubicBezTo>
                  <a:cubicBezTo>
                    <a:pt x="10340" y="2928"/>
                    <a:pt x="10248" y="2957"/>
                    <a:pt x="10114" y="2968"/>
                  </a:cubicBezTo>
                  <a:cubicBezTo>
                    <a:pt x="9990" y="2979"/>
                    <a:pt x="7799" y="3223"/>
                    <a:pt x="7345" y="3277"/>
                  </a:cubicBezTo>
                  <a:cubicBezTo>
                    <a:pt x="7015" y="3317"/>
                    <a:pt x="7010" y="3317"/>
                    <a:pt x="6232" y="3324"/>
                  </a:cubicBezTo>
                  <a:lnTo>
                    <a:pt x="5451" y="3331"/>
                  </a:lnTo>
                  <a:lnTo>
                    <a:pt x="5447" y="3440"/>
                  </a:lnTo>
                  <a:lnTo>
                    <a:pt x="5444" y="3549"/>
                  </a:lnTo>
                  <a:lnTo>
                    <a:pt x="4421" y="3549"/>
                  </a:lnTo>
                  <a:cubicBezTo>
                    <a:pt x="3858" y="3549"/>
                    <a:pt x="3395" y="3545"/>
                    <a:pt x="3390" y="354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6" name="Rectangle 175">
              <a:extLst>
                <a:ext uri="{FF2B5EF4-FFF2-40B4-BE49-F238E27FC236}">
                  <a16:creationId xmlns:a16="http://schemas.microsoft.com/office/drawing/2014/main" id="{A4FA4C0A-896B-4656-8559-A5CF0EEA0FC3}"/>
                </a:ext>
              </a:extLst>
            </p:cNvPr>
            <p:cNvSpPr/>
            <p:nvPr/>
          </p:nvSpPr>
          <p:spPr>
            <a:xfrm>
              <a:off x="5327650" y="3703289"/>
              <a:ext cx="286582" cy="167169"/>
            </a:xfrm>
            <a:prstGeom prst="rect">
              <a:avLst/>
            </a:prstGeom>
            <a:solidFill>
              <a:srgbClr val="89C4F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5" name="Right Triangle 174">
              <a:extLst>
                <a:ext uri="{FF2B5EF4-FFF2-40B4-BE49-F238E27FC236}">
                  <a16:creationId xmlns:a16="http://schemas.microsoft.com/office/drawing/2014/main" id="{5E561CD7-9ECB-43BB-9A5D-3E7EBB3A1EC4}"/>
                </a:ext>
              </a:extLst>
            </p:cNvPr>
            <p:cNvSpPr/>
            <p:nvPr/>
          </p:nvSpPr>
          <p:spPr>
            <a:xfrm rot="7733115">
              <a:off x="5437500" y="3503234"/>
              <a:ext cx="182690" cy="479379"/>
            </a:xfrm>
            <a:custGeom>
              <a:avLst/>
              <a:gdLst>
                <a:gd name="connsiteX0" fmla="*/ 0 w 154098"/>
                <a:gd name="connsiteY0" fmla="*/ 372313 h 372313"/>
                <a:gd name="connsiteX1" fmla="*/ 0 w 154098"/>
                <a:gd name="connsiteY1" fmla="*/ 0 h 372313"/>
                <a:gd name="connsiteX2" fmla="*/ 154098 w 154098"/>
                <a:gd name="connsiteY2" fmla="*/ 372313 h 372313"/>
                <a:gd name="connsiteX3" fmla="*/ 0 w 154098"/>
                <a:gd name="connsiteY3" fmla="*/ 372313 h 372313"/>
                <a:gd name="connsiteX0" fmla="*/ 0 w 154098"/>
                <a:gd name="connsiteY0" fmla="*/ 373990 h 373990"/>
                <a:gd name="connsiteX1" fmla="*/ 0 w 154098"/>
                <a:gd name="connsiteY1" fmla="*/ 1677 h 373990"/>
                <a:gd name="connsiteX2" fmla="*/ 801 w 154098"/>
                <a:gd name="connsiteY2" fmla="*/ 0 h 373990"/>
                <a:gd name="connsiteX3" fmla="*/ 154098 w 154098"/>
                <a:gd name="connsiteY3" fmla="*/ 373990 h 373990"/>
                <a:gd name="connsiteX4" fmla="*/ 0 w 154098"/>
                <a:gd name="connsiteY4" fmla="*/ 373990 h 373990"/>
                <a:gd name="connsiteX0" fmla="*/ 0 w 154098"/>
                <a:gd name="connsiteY0" fmla="*/ 372313 h 372313"/>
                <a:gd name="connsiteX1" fmla="*/ 0 w 154098"/>
                <a:gd name="connsiteY1" fmla="*/ 0 h 372313"/>
                <a:gd name="connsiteX2" fmla="*/ 34048 w 154098"/>
                <a:gd name="connsiteY2" fmla="*/ 4142 h 372313"/>
                <a:gd name="connsiteX3" fmla="*/ 154098 w 154098"/>
                <a:gd name="connsiteY3" fmla="*/ 372313 h 372313"/>
                <a:gd name="connsiteX4" fmla="*/ 0 w 154098"/>
                <a:gd name="connsiteY4" fmla="*/ 372313 h 372313"/>
                <a:gd name="connsiteX0" fmla="*/ 0 w 139754"/>
                <a:gd name="connsiteY0" fmla="*/ 372313 h 402408"/>
                <a:gd name="connsiteX1" fmla="*/ 0 w 139754"/>
                <a:gd name="connsiteY1" fmla="*/ 0 h 402408"/>
                <a:gd name="connsiteX2" fmla="*/ 34048 w 139754"/>
                <a:gd name="connsiteY2" fmla="*/ 4142 h 402408"/>
                <a:gd name="connsiteX3" fmla="*/ 139754 w 139754"/>
                <a:gd name="connsiteY3" fmla="*/ 402408 h 402408"/>
                <a:gd name="connsiteX4" fmla="*/ 0 w 139754"/>
                <a:gd name="connsiteY4" fmla="*/ 372313 h 402408"/>
                <a:gd name="connsiteX0" fmla="*/ 0 w 164610"/>
                <a:gd name="connsiteY0" fmla="*/ 239441 h 402408"/>
                <a:gd name="connsiteX1" fmla="*/ 24856 w 164610"/>
                <a:gd name="connsiteY1" fmla="*/ 0 h 402408"/>
                <a:gd name="connsiteX2" fmla="*/ 58904 w 164610"/>
                <a:gd name="connsiteY2" fmla="*/ 4142 h 402408"/>
                <a:gd name="connsiteX3" fmla="*/ 164610 w 164610"/>
                <a:gd name="connsiteY3" fmla="*/ 402408 h 402408"/>
                <a:gd name="connsiteX4" fmla="*/ 0 w 164610"/>
                <a:gd name="connsiteY4" fmla="*/ 239441 h 402408"/>
                <a:gd name="connsiteX0" fmla="*/ 0 w 152781"/>
                <a:gd name="connsiteY0" fmla="*/ 239441 h 382419"/>
                <a:gd name="connsiteX1" fmla="*/ 24856 w 152781"/>
                <a:gd name="connsiteY1" fmla="*/ 0 h 382419"/>
                <a:gd name="connsiteX2" fmla="*/ 58904 w 152781"/>
                <a:gd name="connsiteY2" fmla="*/ 4142 h 382419"/>
                <a:gd name="connsiteX3" fmla="*/ 152781 w 152781"/>
                <a:gd name="connsiteY3" fmla="*/ 382419 h 382419"/>
                <a:gd name="connsiteX4" fmla="*/ 0 w 152781"/>
                <a:gd name="connsiteY4" fmla="*/ 239441 h 382419"/>
                <a:gd name="connsiteX0" fmla="*/ 0 w 152781"/>
                <a:gd name="connsiteY0" fmla="*/ 239441 h 382419"/>
                <a:gd name="connsiteX1" fmla="*/ 24856 w 152781"/>
                <a:gd name="connsiteY1" fmla="*/ 0 h 382419"/>
                <a:gd name="connsiteX2" fmla="*/ 81869 w 152781"/>
                <a:gd name="connsiteY2" fmla="*/ 64498 h 382419"/>
                <a:gd name="connsiteX3" fmla="*/ 152781 w 152781"/>
                <a:gd name="connsiteY3" fmla="*/ 382419 h 382419"/>
                <a:gd name="connsiteX4" fmla="*/ 0 w 152781"/>
                <a:gd name="connsiteY4" fmla="*/ 239441 h 382419"/>
                <a:gd name="connsiteX0" fmla="*/ 0 w 152781"/>
                <a:gd name="connsiteY0" fmla="*/ 246327 h 389305"/>
                <a:gd name="connsiteX1" fmla="*/ 18564 w 152781"/>
                <a:gd name="connsiteY1" fmla="*/ 0 h 389305"/>
                <a:gd name="connsiteX2" fmla="*/ 81869 w 152781"/>
                <a:gd name="connsiteY2" fmla="*/ 71384 h 389305"/>
                <a:gd name="connsiteX3" fmla="*/ 152781 w 152781"/>
                <a:gd name="connsiteY3" fmla="*/ 389305 h 389305"/>
                <a:gd name="connsiteX4" fmla="*/ 0 w 152781"/>
                <a:gd name="connsiteY4" fmla="*/ 246327 h 389305"/>
                <a:gd name="connsiteX0" fmla="*/ 0 w 137178"/>
                <a:gd name="connsiteY0" fmla="*/ 246327 h 400410"/>
                <a:gd name="connsiteX1" fmla="*/ 18564 w 137178"/>
                <a:gd name="connsiteY1" fmla="*/ 0 h 400410"/>
                <a:gd name="connsiteX2" fmla="*/ 81869 w 137178"/>
                <a:gd name="connsiteY2" fmla="*/ 71384 h 400410"/>
                <a:gd name="connsiteX3" fmla="*/ 137178 w 137178"/>
                <a:gd name="connsiteY3" fmla="*/ 400410 h 400410"/>
                <a:gd name="connsiteX4" fmla="*/ 0 w 137178"/>
                <a:gd name="connsiteY4" fmla="*/ 246327 h 400410"/>
                <a:gd name="connsiteX0" fmla="*/ 0 w 148189"/>
                <a:gd name="connsiteY0" fmla="*/ 234278 h 400410"/>
                <a:gd name="connsiteX1" fmla="*/ 29575 w 148189"/>
                <a:gd name="connsiteY1" fmla="*/ 0 h 400410"/>
                <a:gd name="connsiteX2" fmla="*/ 92880 w 148189"/>
                <a:gd name="connsiteY2" fmla="*/ 71384 h 400410"/>
                <a:gd name="connsiteX3" fmla="*/ 148189 w 148189"/>
                <a:gd name="connsiteY3" fmla="*/ 400410 h 400410"/>
                <a:gd name="connsiteX4" fmla="*/ 0 w 148189"/>
                <a:gd name="connsiteY4" fmla="*/ 234278 h 400410"/>
                <a:gd name="connsiteX0" fmla="*/ 0 w 170211"/>
                <a:gd name="connsiteY0" fmla="*/ 234278 h 424508"/>
                <a:gd name="connsiteX1" fmla="*/ 29575 w 170211"/>
                <a:gd name="connsiteY1" fmla="*/ 0 h 424508"/>
                <a:gd name="connsiteX2" fmla="*/ 92880 w 170211"/>
                <a:gd name="connsiteY2" fmla="*/ 71384 h 424508"/>
                <a:gd name="connsiteX3" fmla="*/ 170211 w 170211"/>
                <a:gd name="connsiteY3" fmla="*/ 424508 h 424508"/>
                <a:gd name="connsiteX4" fmla="*/ 0 w 170211"/>
                <a:gd name="connsiteY4" fmla="*/ 234278 h 424508"/>
                <a:gd name="connsiteX0" fmla="*/ 0 w 192232"/>
                <a:gd name="connsiteY0" fmla="*/ 210181 h 424508"/>
                <a:gd name="connsiteX1" fmla="*/ 51596 w 192232"/>
                <a:gd name="connsiteY1" fmla="*/ 0 h 424508"/>
                <a:gd name="connsiteX2" fmla="*/ 114901 w 192232"/>
                <a:gd name="connsiteY2" fmla="*/ 71384 h 424508"/>
                <a:gd name="connsiteX3" fmla="*/ 192232 w 192232"/>
                <a:gd name="connsiteY3" fmla="*/ 424508 h 424508"/>
                <a:gd name="connsiteX4" fmla="*/ 0 w 192232"/>
                <a:gd name="connsiteY4" fmla="*/ 210181 h 424508"/>
                <a:gd name="connsiteX0" fmla="*/ 0 w 192232"/>
                <a:gd name="connsiteY0" fmla="*/ 230836 h 445163"/>
                <a:gd name="connsiteX1" fmla="*/ 32721 w 192232"/>
                <a:gd name="connsiteY1" fmla="*/ 0 h 445163"/>
                <a:gd name="connsiteX2" fmla="*/ 114901 w 192232"/>
                <a:gd name="connsiteY2" fmla="*/ 92039 h 445163"/>
                <a:gd name="connsiteX3" fmla="*/ 192232 w 192232"/>
                <a:gd name="connsiteY3" fmla="*/ 445163 h 445163"/>
                <a:gd name="connsiteX4" fmla="*/ 0 w 192232"/>
                <a:gd name="connsiteY4" fmla="*/ 230836 h 445163"/>
                <a:gd name="connsiteX0" fmla="*/ 0 w 192232"/>
                <a:gd name="connsiteY0" fmla="*/ 230836 h 445163"/>
                <a:gd name="connsiteX1" fmla="*/ 32721 w 192232"/>
                <a:gd name="connsiteY1" fmla="*/ 0 h 445163"/>
                <a:gd name="connsiteX2" fmla="*/ 84952 w 192232"/>
                <a:gd name="connsiteY2" fmla="*/ 45175 h 445163"/>
                <a:gd name="connsiteX3" fmla="*/ 192232 w 192232"/>
                <a:gd name="connsiteY3" fmla="*/ 445163 h 445163"/>
                <a:gd name="connsiteX4" fmla="*/ 0 w 192232"/>
                <a:gd name="connsiteY4" fmla="*/ 230836 h 445163"/>
                <a:gd name="connsiteX0" fmla="*/ 0 w 192232"/>
                <a:gd name="connsiteY0" fmla="*/ 230836 h 445163"/>
                <a:gd name="connsiteX1" fmla="*/ 32721 w 192232"/>
                <a:gd name="connsiteY1" fmla="*/ 0 h 445163"/>
                <a:gd name="connsiteX2" fmla="*/ 79918 w 192232"/>
                <a:gd name="connsiteY2" fmla="*/ 57280 h 445163"/>
                <a:gd name="connsiteX3" fmla="*/ 192232 w 192232"/>
                <a:gd name="connsiteY3" fmla="*/ 445163 h 445163"/>
                <a:gd name="connsiteX4" fmla="*/ 0 w 192232"/>
                <a:gd name="connsiteY4" fmla="*/ 230836 h 445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2232" h="445163">
                  <a:moveTo>
                    <a:pt x="0" y="230836"/>
                  </a:moveTo>
                  <a:lnTo>
                    <a:pt x="32721" y="0"/>
                  </a:lnTo>
                  <a:lnTo>
                    <a:pt x="79918" y="57280"/>
                  </a:lnTo>
                  <a:lnTo>
                    <a:pt x="192232" y="445163"/>
                  </a:lnTo>
                  <a:lnTo>
                    <a:pt x="0" y="23083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4" name="Group 183">
            <a:extLst>
              <a:ext uri="{FF2B5EF4-FFF2-40B4-BE49-F238E27FC236}">
                <a16:creationId xmlns:a16="http://schemas.microsoft.com/office/drawing/2014/main" id="{B67B3C07-135C-444D-88FD-355DF5DDE425}"/>
              </a:ext>
            </a:extLst>
          </p:cNvPr>
          <p:cNvGrpSpPr/>
          <p:nvPr/>
        </p:nvGrpSpPr>
        <p:grpSpPr>
          <a:xfrm>
            <a:off x="7018330" y="2461573"/>
            <a:ext cx="360657" cy="357104"/>
            <a:chOff x="2810649" y="2361178"/>
            <a:chExt cx="923499" cy="914400"/>
          </a:xfrm>
          <a:effectLst>
            <a:glow rad="254000">
              <a:schemeClr val="accent4">
                <a:satMod val="175000"/>
                <a:alpha val="20000"/>
              </a:schemeClr>
            </a:glow>
          </a:effectLst>
        </p:grpSpPr>
        <p:pic>
          <p:nvPicPr>
            <p:cNvPr id="159" name="Graphic 158" descr="Comet">
              <a:extLst>
                <a:ext uri="{FF2B5EF4-FFF2-40B4-BE49-F238E27FC236}">
                  <a16:creationId xmlns:a16="http://schemas.microsoft.com/office/drawing/2014/main" id="{1543C49A-82EA-4BD3-88D6-13E9F32A932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2235324">
              <a:off x="2819748" y="2361178"/>
              <a:ext cx="914400" cy="914400"/>
            </a:xfrm>
            <a:prstGeom prst="rect">
              <a:avLst/>
            </a:prstGeom>
          </p:spPr>
        </p:pic>
        <p:sp>
          <p:nvSpPr>
            <p:cNvPr id="181" name="Oval 180">
              <a:extLst>
                <a:ext uri="{FF2B5EF4-FFF2-40B4-BE49-F238E27FC236}">
                  <a16:creationId xmlns:a16="http://schemas.microsoft.com/office/drawing/2014/main" id="{B1BFFA67-4602-4E5E-9953-FC8FAD51EBE7}"/>
                </a:ext>
              </a:extLst>
            </p:cNvPr>
            <p:cNvSpPr/>
            <p:nvPr/>
          </p:nvSpPr>
          <p:spPr>
            <a:xfrm>
              <a:off x="2810649" y="2712462"/>
              <a:ext cx="319600" cy="319600"/>
            </a:xfrm>
            <a:prstGeom prst="ellipse">
              <a:avLst/>
            </a:prstGeom>
            <a:solidFill>
              <a:srgbClr val="F39C12"/>
            </a:solidFill>
            <a:ln>
              <a:noFill/>
            </a:ln>
            <a:effectLst>
              <a:glow rad="254000">
                <a:schemeClr val="accent4">
                  <a:satMod val="175000"/>
                  <a:alpha val="2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85" name="Freeform: Shape 184">
            <a:extLst>
              <a:ext uri="{FF2B5EF4-FFF2-40B4-BE49-F238E27FC236}">
                <a16:creationId xmlns:a16="http://schemas.microsoft.com/office/drawing/2014/main" id="{BAFB304E-A03E-4EE1-9F91-AD39C39C059D}"/>
              </a:ext>
            </a:extLst>
          </p:cNvPr>
          <p:cNvSpPr/>
          <p:nvPr/>
        </p:nvSpPr>
        <p:spPr>
          <a:xfrm rot="21337557">
            <a:off x="4909799" y="1127043"/>
            <a:ext cx="4131505" cy="1118677"/>
          </a:xfrm>
          <a:custGeom>
            <a:avLst/>
            <a:gdLst>
              <a:gd name="connsiteX0" fmla="*/ 298665 w 5695305"/>
              <a:gd name="connsiteY0" fmla="*/ 230809 h 1424871"/>
              <a:gd name="connsiteX1" fmla="*/ 870165 w 5695305"/>
              <a:gd name="connsiteY1" fmla="*/ 22991 h 1424871"/>
              <a:gd name="connsiteX2" fmla="*/ 1368929 w 5695305"/>
              <a:gd name="connsiteY2" fmla="*/ 43773 h 1424871"/>
              <a:gd name="connsiteX3" fmla="*/ 2044338 w 5695305"/>
              <a:gd name="connsiteY3" fmla="*/ 365891 h 1424871"/>
              <a:gd name="connsiteX4" fmla="*/ 2792483 w 5695305"/>
              <a:gd name="connsiteY4" fmla="*/ 272373 h 1424871"/>
              <a:gd name="connsiteX5" fmla="*/ 3322420 w 5695305"/>
              <a:gd name="connsiteY5" fmla="*/ 178855 h 1424871"/>
              <a:gd name="connsiteX6" fmla="*/ 4174474 w 5695305"/>
              <a:gd name="connsiteY6" fmla="*/ 500973 h 1424871"/>
              <a:gd name="connsiteX7" fmla="*/ 4943402 w 5695305"/>
              <a:gd name="connsiteY7" fmla="*/ 449018 h 1424871"/>
              <a:gd name="connsiteX8" fmla="*/ 5670765 w 5695305"/>
              <a:gd name="connsiteY8" fmla="*/ 365891 h 1424871"/>
              <a:gd name="connsiteX9" fmla="*/ 5369429 w 5695305"/>
              <a:gd name="connsiteY9" fmla="*/ 1321855 h 1424871"/>
              <a:gd name="connsiteX10" fmla="*/ 3904311 w 5695305"/>
              <a:gd name="connsiteY10" fmla="*/ 1363418 h 1424871"/>
              <a:gd name="connsiteX11" fmla="*/ 3010693 w 5695305"/>
              <a:gd name="connsiteY11" fmla="*/ 1010128 h 1424871"/>
              <a:gd name="connsiteX12" fmla="*/ 1971602 w 5695305"/>
              <a:gd name="connsiteY12" fmla="*/ 1197164 h 1424871"/>
              <a:gd name="connsiteX13" fmla="*/ 1233847 w 5695305"/>
              <a:gd name="connsiteY13" fmla="*/ 823091 h 1424871"/>
              <a:gd name="connsiteX14" fmla="*/ 49283 w 5695305"/>
              <a:gd name="connsiteY14" fmla="*/ 1041300 h 1424871"/>
              <a:gd name="connsiteX15" fmla="*/ 298665 w 5695305"/>
              <a:gd name="connsiteY15" fmla="*/ 230809 h 14248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695305" h="1424871">
                <a:moveTo>
                  <a:pt x="298665" y="230809"/>
                </a:moveTo>
                <a:cubicBezTo>
                  <a:pt x="435479" y="61091"/>
                  <a:pt x="691788" y="54164"/>
                  <a:pt x="870165" y="22991"/>
                </a:cubicBezTo>
                <a:cubicBezTo>
                  <a:pt x="1048542" y="-8182"/>
                  <a:pt x="1173234" y="-13377"/>
                  <a:pt x="1368929" y="43773"/>
                </a:cubicBezTo>
                <a:cubicBezTo>
                  <a:pt x="1564625" y="100923"/>
                  <a:pt x="1807079" y="327791"/>
                  <a:pt x="2044338" y="365891"/>
                </a:cubicBezTo>
                <a:cubicBezTo>
                  <a:pt x="2281597" y="403991"/>
                  <a:pt x="2579469" y="303546"/>
                  <a:pt x="2792483" y="272373"/>
                </a:cubicBezTo>
                <a:cubicBezTo>
                  <a:pt x="3005497" y="241200"/>
                  <a:pt x="3092088" y="140755"/>
                  <a:pt x="3322420" y="178855"/>
                </a:cubicBezTo>
                <a:cubicBezTo>
                  <a:pt x="3552752" y="216955"/>
                  <a:pt x="3904310" y="455946"/>
                  <a:pt x="4174474" y="500973"/>
                </a:cubicBezTo>
                <a:cubicBezTo>
                  <a:pt x="4444638" y="546000"/>
                  <a:pt x="4694020" y="471532"/>
                  <a:pt x="4943402" y="449018"/>
                </a:cubicBezTo>
                <a:cubicBezTo>
                  <a:pt x="5192784" y="426504"/>
                  <a:pt x="5599761" y="220418"/>
                  <a:pt x="5670765" y="365891"/>
                </a:cubicBezTo>
                <a:cubicBezTo>
                  <a:pt x="5741770" y="511364"/>
                  <a:pt x="5663838" y="1155600"/>
                  <a:pt x="5369429" y="1321855"/>
                </a:cubicBezTo>
                <a:cubicBezTo>
                  <a:pt x="5075020" y="1488110"/>
                  <a:pt x="4297434" y="1415373"/>
                  <a:pt x="3904311" y="1363418"/>
                </a:cubicBezTo>
                <a:cubicBezTo>
                  <a:pt x="3511188" y="1311464"/>
                  <a:pt x="3332811" y="1037837"/>
                  <a:pt x="3010693" y="1010128"/>
                </a:cubicBezTo>
                <a:cubicBezTo>
                  <a:pt x="2688575" y="982419"/>
                  <a:pt x="2267743" y="1228337"/>
                  <a:pt x="1971602" y="1197164"/>
                </a:cubicBezTo>
                <a:cubicBezTo>
                  <a:pt x="1675461" y="1165991"/>
                  <a:pt x="1554234" y="849068"/>
                  <a:pt x="1233847" y="823091"/>
                </a:cubicBezTo>
                <a:cubicBezTo>
                  <a:pt x="913461" y="797114"/>
                  <a:pt x="210342" y="1141746"/>
                  <a:pt x="49283" y="1041300"/>
                </a:cubicBezTo>
                <a:cubicBezTo>
                  <a:pt x="-111776" y="940855"/>
                  <a:pt x="161851" y="400527"/>
                  <a:pt x="298665" y="230809"/>
                </a:cubicBezTo>
                <a:close/>
              </a:path>
            </a:pathLst>
          </a:custGeom>
          <a:gradFill flip="none" rotWithShape="1">
            <a:gsLst>
              <a:gs pos="0">
                <a:srgbClr val="FF0000">
                  <a:alpha val="10000"/>
                </a:srgbClr>
              </a:gs>
              <a:gs pos="63000">
                <a:srgbClr val="0070C0">
                  <a:alpha val="10000"/>
                </a:srgbClr>
              </a:gs>
              <a:gs pos="41000">
                <a:srgbClr val="00B050">
                  <a:alpha val="10000"/>
                </a:srgbClr>
              </a:gs>
              <a:gs pos="20000">
                <a:srgbClr val="FFC000">
                  <a:alpha val="10000"/>
                </a:srgbClr>
              </a:gs>
              <a:gs pos="100000">
                <a:srgbClr val="EA4C88">
                  <a:alpha val="10000"/>
                </a:srgbClr>
              </a:gs>
              <a:gs pos="84000">
                <a:srgbClr val="7030A0">
                  <a:alpha val="10000"/>
                </a:srgbClr>
              </a:gs>
            </a:gsLst>
            <a:lin ang="0" scaled="1"/>
            <a:tileRect/>
          </a:gradFill>
          <a:ln>
            <a:noFill/>
          </a:ln>
          <a:effectLst>
            <a:glow rad="381000">
              <a:schemeClr val="accent3">
                <a:satMod val="175000"/>
                <a:alpha val="10000"/>
              </a:schemeClr>
            </a:glow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BF2A3CCE-DD89-4DA1-92CC-7A729EF0CE87}"/>
              </a:ext>
            </a:extLst>
          </p:cNvPr>
          <p:cNvSpPr txBox="1"/>
          <p:nvPr/>
        </p:nvSpPr>
        <p:spPr>
          <a:xfrm>
            <a:off x="209759" y="1245899"/>
            <a:ext cx="524023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b="1">
                <a:solidFill>
                  <a:schemeClr val="bg1"/>
                </a:solidFill>
                <a:latin typeface="Montserrat" panose="02000505000000020004" pitchFamily="2" charset="0"/>
              </a:rPr>
              <a:t>EARTH</a:t>
            </a:r>
          </a:p>
        </p:txBody>
      </p:sp>
      <p:grpSp>
        <p:nvGrpSpPr>
          <p:cNvPr id="200" name="Hot_air_balloon2">
            <a:extLst>
              <a:ext uri="{FF2B5EF4-FFF2-40B4-BE49-F238E27FC236}">
                <a16:creationId xmlns:a16="http://schemas.microsoft.com/office/drawing/2014/main" id="{7E9EB894-1C61-411C-B6B2-AF6455730DC8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4277787" y="3589415"/>
            <a:ext cx="588425" cy="784060"/>
            <a:chOff x="2291" y="107"/>
            <a:chExt cx="3089" cy="4116"/>
          </a:xfrm>
          <a:solidFill>
            <a:schemeClr val="bg1">
              <a:lumMod val="95000"/>
            </a:schemeClr>
          </a:solidFill>
        </p:grpSpPr>
        <p:sp>
          <p:nvSpPr>
            <p:cNvPr id="201" name="Freeform 29">
              <a:extLst>
                <a:ext uri="{FF2B5EF4-FFF2-40B4-BE49-F238E27FC236}">
                  <a16:creationId xmlns:a16="http://schemas.microsoft.com/office/drawing/2014/main" id="{69D6E905-DC03-4834-8288-7AF3F1DBFF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9" y="107"/>
              <a:ext cx="2327" cy="4116"/>
            </a:xfrm>
            <a:custGeom>
              <a:avLst/>
              <a:gdLst>
                <a:gd name="T0" fmla="*/ 6692 w 11394"/>
                <a:gd name="T1" fmla="*/ 63 h 20121"/>
                <a:gd name="T2" fmla="*/ 6902 w 11394"/>
                <a:gd name="T3" fmla="*/ 15138 h 20121"/>
                <a:gd name="T4" fmla="*/ 8075 w 11394"/>
                <a:gd name="T5" fmla="*/ 303 h 20121"/>
                <a:gd name="T6" fmla="*/ 10910 w 11394"/>
                <a:gd name="T7" fmla="*/ 6929 h 20121"/>
                <a:gd name="T8" fmla="*/ 7731 w 11394"/>
                <a:gd name="T9" fmla="*/ 14961 h 20121"/>
                <a:gd name="T10" fmla="*/ 7188 w 11394"/>
                <a:gd name="T11" fmla="*/ 16502 h 20121"/>
                <a:gd name="T12" fmla="*/ 7189 w 11394"/>
                <a:gd name="T13" fmla="*/ 18592 h 20121"/>
                <a:gd name="T14" fmla="*/ 7309 w 11394"/>
                <a:gd name="T15" fmla="*/ 18723 h 20121"/>
                <a:gd name="T16" fmla="*/ 6069 w 11394"/>
                <a:gd name="T17" fmla="*/ 20031 h 20121"/>
                <a:gd name="T18" fmla="*/ 5306 w 11394"/>
                <a:gd name="T19" fmla="*/ 18731 h 20121"/>
                <a:gd name="T20" fmla="*/ 5437 w 11394"/>
                <a:gd name="T21" fmla="*/ 18598 h 20121"/>
                <a:gd name="T22" fmla="*/ 5435 w 11394"/>
                <a:gd name="T23" fmla="*/ 16505 h 20121"/>
                <a:gd name="T24" fmla="*/ 4411 w 11394"/>
                <a:gd name="T25" fmla="*/ 14524 h 20121"/>
                <a:gd name="T26" fmla="*/ 2006 w 11394"/>
                <a:gd name="T27" fmla="*/ 1282 h 20121"/>
                <a:gd name="T28" fmla="*/ 4153 w 11394"/>
                <a:gd name="T29" fmla="*/ 180 h 20121"/>
                <a:gd name="T30" fmla="*/ 3012 w 11394"/>
                <a:gd name="T31" fmla="*/ 7974 h 20121"/>
                <a:gd name="T32" fmla="*/ 5803 w 11394"/>
                <a:gd name="T33" fmla="*/ 15135 h 20121"/>
                <a:gd name="T34" fmla="*/ 4900 w 11394"/>
                <a:gd name="T35" fmla="*/ 5956 h 20121"/>
                <a:gd name="T36" fmla="*/ 5489 w 11394"/>
                <a:gd name="T37" fmla="*/ 16517 h 20121"/>
                <a:gd name="T38" fmla="*/ 5681 w 11394"/>
                <a:gd name="T39" fmla="*/ 16565 h 20121"/>
                <a:gd name="T40" fmla="*/ 6934 w 11394"/>
                <a:gd name="T41" fmla="*/ 16574 h 20121"/>
                <a:gd name="T42" fmla="*/ 7134 w 11394"/>
                <a:gd name="T43" fmla="*/ 16520 h 20121"/>
                <a:gd name="T44" fmla="*/ 5736 w 11394"/>
                <a:gd name="T45" fmla="*/ 16577 h 20121"/>
                <a:gd name="T46" fmla="*/ 5910 w 11394"/>
                <a:gd name="T47" fmla="*/ 16606 h 20121"/>
                <a:gd name="T48" fmla="*/ 6710 w 11394"/>
                <a:gd name="T49" fmla="*/ 16610 h 20121"/>
                <a:gd name="T50" fmla="*/ 6886 w 11394"/>
                <a:gd name="T51" fmla="*/ 16583 h 20121"/>
                <a:gd name="T52" fmla="*/ 5959 w 11394"/>
                <a:gd name="T53" fmla="*/ 16613 h 20121"/>
                <a:gd name="T54" fmla="*/ 5933 w 11394"/>
                <a:gd name="T55" fmla="*/ 17478 h 20121"/>
                <a:gd name="T56" fmla="*/ 6229 w 11394"/>
                <a:gd name="T57" fmla="*/ 17269 h 20121"/>
                <a:gd name="T58" fmla="*/ 6365 w 11394"/>
                <a:gd name="T59" fmla="*/ 17478 h 20121"/>
                <a:gd name="T60" fmla="*/ 6662 w 11394"/>
                <a:gd name="T61" fmla="*/ 17280 h 20121"/>
                <a:gd name="T62" fmla="*/ 6846 w 11394"/>
                <a:gd name="T63" fmla="*/ 17477 h 20121"/>
                <a:gd name="T64" fmla="*/ 5959 w 11394"/>
                <a:gd name="T65" fmla="*/ 16613 h 20121"/>
                <a:gd name="T66" fmla="*/ 5567 w 11394"/>
                <a:gd name="T67" fmla="*/ 18598 h 20121"/>
                <a:gd name="T68" fmla="*/ 6867 w 11394"/>
                <a:gd name="T69" fmla="*/ 17609 h 20121"/>
                <a:gd name="T70" fmla="*/ 6361 w 11394"/>
                <a:gd name="T71" fmla="*/ 17609 h 20121"/>
                <a:gd name="T72" fmla="*/ 5934 w 11394"/>
                <a:gd name="T73" fmla="*/ 17611 h 20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1394" h="20121">
                  <a:moveTo>
                    <a:pt x="5442" y="57"/>
                  </a:moveTo>
                  <a:cubicBezTo>
                    <a:pt x="5465" y="0"/>
                    <a:pt x="6531" y="52"/>
                    <a:pt x="6692" y="63"/>
                  </a:cubicBezTo>
                  <a:cubicBezTo>
                    <a:pt x="7936" y="2617"/>
                    <a:pt x="6642" y="12342"/>
                    <a:pt x="6297" y="15165"/>
                  </a:cubicBezTo>
                  <a:cubicBezTo>
                    <a:pt x="6500" y="15169"/>
                    <a:pt x="6701" y="15158"/>
                    <a:pt x="6902" y="15138"/>
                  </a:cubicBezTo>
                  <a:cubicBezTo>
                    <a:pt x="7951" y="12442"/>
                    <a:pt x="9407" y="8351"/>
                    <a:pt x="9265" y="5463"/>
                  </a:cubicBezTo>
                  <a:cubicBezTo>
                    <a:pt x="9245" y="5245"/>
                    <a:pt x="9341" y="2197"/>
                    <a:pt x="8075" y="303"/>
                  </a:cubicBezTo>
                  <a:cubicBezTo>
                    <a:pt x="8743" y="474"/>
                    <a:pt x="9392" y="729"/>
                    <a:pt x="9994" y="1066"/>
                  </a:cubicBezTo>
                  <a:cubicBezTo>
                    <a:pt x="10556" y="1821"/>
                    <a:pt x="11394" y="3788"/>
                    <a:pt x="10910" y="6929"/>
                  </a:cubicBezTo>
                  <a:cubicBezTo>
                    <a:pt x="10342" y="10490"/>
                    <a:pt x="9293" y="11689"/>
                    <a:pt x="7361" y="15063"/>
                  </a:cubicBezTo>
                  <a:cubicBezTo>
                    <a:pt x="7486" y="15035"/>
                    <a:pt x="7609" y="15000"/>
                    <a:pt x="7731" y="14961"/>
                  </a:cubicBezTo>
                  <a:cubicBezTo>
                    <a:pt x="7636" y="15263"/>
                    <a:pt x="7340" y="16207"/>
                    <a:pt x="7213" y="16495"/>
                  </a:cubicBezTo>
                  <a:cubicBezTo>
                    <a:pt x="7207" y="16497"/>
                    <a:pt x="7195" y="16501"/>
                    <a:pt x="7188" y="16502"/>
                  </a:cubicBezTo>
                  <a:cubicBezTo>
                    <a:pt x="7117" y="16825"/>
                    <a:pt x="7046" y="17148"/>
                    <a:pt x="6976" y="17470"/>
                  </a:cubicBezTo>
                  <a:cubicBezTo>
                    <a:pt x="6996" y="17541"/>
                    <a:pt x="7187" y="18579"/>
                    <a:pt x="7189" y="18592"/>
                  </a:cubicBezTo>
                  <a:cubicBezTo>
                    <a:pt x="7226" y="18592"/>
                    <a:pt x="7268" y="18588"/>
                    <a:pt x="7298" y="18615"/>
                  </a:cubicBezTo>
                  <a:cubicBezTo>
                    <a:pt x="7330" y="18640"/>
                    <a:pt x="7337" y="18692"/>
                    <a:pt x="7309" y="18723"/>
                  </a:cubicBezTo>
                  <a:cubicBezTo>
                    <a:pt x="7280" y="18751"/>
                    <a:pt x="7236" y="18742"/>
                    <a:pt x="7200" y="18745"/>
                  </a:cubicBezTo>
                  <a:cubicBezTo>
                    <a:pt x="7190" y="20121"/>
                    <a:pt x="7337" y="20021"/>
                    <a:pt x="6069" y="20031"/>
                  </a:cubicBezTo>
                  <a:cubicBezTo>
                    <a:pt x="5252" y="20044"/>
                    <a:pt x="5442" y="19749"/>
                    <a:pt x="5422" y="18741"/>
                  </a:cubicBezTo>
                  <a:cubicBezTo>
                    <a:pt x="5384" y="18742"/>
                    <a:pt x="5339" y="18756"/>
                    <a:pt x="5306" y="18731"/>
                  </a:cubicBezTo>
                  <a:cubicBezTo>
                    <a:pt x="5259" y="18698"/>
                    <a:pt x="5274" y="18611"/>
                    <a:pt x="5332" y="18600"/>
                  </a:cubicBezTo>
                  <a:cubicBezTo>
                    <a:pt x="5367" y="18596"/>
                    <a:pt x="5402" y="18599"/>
                    <a:pt x="5437" y="18598"/>
                  </a:cubicBezTo>
                  <a:cubicBezTo>
                    <a:pt x="5669" y="17334"/>
                    <a:pt x="5649" y="17512"/>
                    <a:pt x="5633" y="17422"/>
                  </a:cubicBezTo>
                  <a:cubicBezTo>
                    <a:pt x="5566" y="17117"/>
                    <a:pt x="5504" y="16810"/>
                    <a:pt x="5435" y="16505"/>
                  </a:cubicBezTo>
                  <a:cubicBezTo>
                    <a:pt x="5320" y="16402"/>
                    <a:pt x="4842" y="15221"/>
                    <a:pt x="4795" y="14941"/>
                  </a:cubicBezTo>
                  <a:cubicBezTo>
                    <a:pt x="4670" y="14800"/>
                    <a:pt x="4539" y="14663"/>
                    <a:pt x="4411" y="14524"/>
                  </a:cubicBezTo>
                  <a:cubicBezTo>
                    <a:pt x="2764" y="11684"/>
                    <a:pt x="2726" y="11646"/>
                    <a:pt x="2533" y="11265"/>
                  </a:cubicBezTo>
                  <a:cubicBezTo>
                    <a:pt x="1670" y="9728"/>
                    <a:pt x="0" y="4655"/>
                    <a:pt x="2006" y="1282"/>
                  </a:cubicBezTo>
                  <a:cubicBezTo>
                    <a:pt x="2045" y="1218"/>
                    <a:pt x="2352" y="739"/>
                    <a:pt x="2408" y="717"/>
                  </a:cubicBezTo>
                  <a:cubicBezTo>
                    <a:pt x="2962" y="462"/>
                    <a:pt x="3553" y="290"/>
                    <a:pt x="4153" y="180"/>
                  </a:cubicBezTo>
                  <a:cubicBezTo>
                    <a:pt x="3824" y="651"/>
                    <a:pt x="3540" y="1164"/>
                    <a:pt x="3288" y="2028"/>
                  </a:cubicBezTo>
                  <a:cubicBezTo>
                    <a:pt x="2654" y="4233"/>
                    <a:pt x="2846" y="7026"/>
                    <a:pt x="3012" y="7974"/>
                  </a:cubicBezTo>
                  <a:cubicBezTo>
                    <a:pt x="3367" y="10133"/>
                    <a:pt x="4337" y="12974"/>
                    <a:pt x="5114" y="15026"/>
                  </a:cubicBezTo>
                  <a:cubicBezTo>
                    <a:pt x="5341" y="15078"/>
                    <a:pt x="5572" y="15113"/>
                    <a:pt x="5803" y="15135"/>
                  </a:cubicBezTo>
                  <a:cubicBezTo>
                    <a:pt x="5547" y="13118"/>
                    <a:pt x="5022" y="8727"/>
                    <a:pt x="4926" y="6696"/>
                  </a:cubicBezTo>
                  <a:cubicBezTo>
                    <a:pt x="4926" y="6696"/>
                    <a:pt x="4900" y="5956"/>
                    <a:pt x="4900" y="5956"/>
                  </a:cubicBezTo>
                  <a:cubicBezTo>
                    <a:pt x="4889" y="5838"/>
                    <a:pt x="4742" y="1515"/>
                    <a:pt x="5442" y="57"/>
                  </a:cubicBezTo>
                  <a:close/>
                  <a:moveTo>
                    <a:pt x="5489" y="16517"/>
                  </a:moveTo>
                  <a:cubicBezTo>
                    <a:pt x="5553" y="16813"/>
                    <a:pt x="5617" y="17110"/>
                    <a:pt x="5680" y="17407"/>
                  </a:cubicBezTo>
                  <a:cubicBezTo>
                    <a:pt x="5683" y="17126"/>
                    <a:pt x="5681" y="16846"/>
                    <a:pt x="5681" y="16565"/>
                  </a:cubicBezTo>
                  <a:cubicBezTo>
                    <a:pt x="5617" y="16552"/>
                    <a:pt x="5553" y="16535"/>
                    <a:pt x="5489" y="16517"/>
                  </a:cubicBezTo>
                  <a:close/>
                  <a:moveTo>
                    <a:pt x="6934" y="16574"/>
                  </a:moveTo>
                  <a:cubicBezTo>
                    <a:pt x="6936" y="16910"/>
                    <a:pt x="6931" y="17337"/>
                    <a:pt x="6940" y="17419"/>
                  </a:cubicBezTo>
                  <a:cubicBezTo>
                    <a:pt x="6950" y="17337"/>
                    <a:pt x="7131" y="16533"/>
                    <a:pt x="7134" y="16520"/>
                  </a:cubicBezTo>
                  <a:cubicBezTo>
                    <a:pt x="7068" y="16542"/>
                    <a:pt x="7000" y="16556"/>
                    <a:pt x="6934" y="16574"/>
                  </a:cubicBezTo>
                  <a:close/>
                  <a:moveTo>
                    <a:pt x="5736" y="16577"/>
                  </a:moveTo>
                  <a:cubicBezTo>
                    <a:pt x="5737" y="16857"/>
                    <a:pt x="5732" y="17137"/>
                    <a:pt x="5738" y="17417"/>
                  </a:cubicBezTo>
                  <a:cubicBezTo>
                    <a:pt x="5790" y="17146"/>
                    <a:pt x="5852" y="16876"/>
                    <a:pt x="5910" y="16606"/>
                  </a:cubicBezTo>
                  <a:cubicBezTo>
                    <a:pt x="5851" y="16600"/>
                    <a:pt x="5794" y="16588"/>
                    <a:pt x="5736" y="16577"/>
                  </a:cubicBezTo>
                  <a:close/>
                  <a:moveTo>
                    <a:pt x="6710" y="16610"/>
                  </a:moveTo>
                  <a:cubicBezTo>
                    <a:pt x="6769" y="16882"/>
                    <a:pt x="6826" y="17153"/>
                    <a:pt x="6885" y="17425"/>
                  </a:cubicBezTo>
                  <a:cubicBezTo>
                    <a:pt x="6888" y="17144"/>
                    <a:pt x="6885" y="16863"/>
                    <a:pt x="6886" y="16583"/>
                  </a:cubicBezTo>
                  <a:cubicBezTo>
                    <a:pt x="6828" y="16593"/>
                    <a:pt x="6769" y="16602"/>
                    <a:pt x="6710" y="16610"/>
                  </a:cubicBezTo>
                  <a:close/>
                  <a:moveTo>
                    <a:pt x="5959" y="16613"/>
                  </a:moveTo>
                  <a:cubicBezTo>
                    <a:pt x="5897" y="16901"/>
                    <a:pt x="5835" y="17190"/>
                    <a:pt x="5774" y="17478"/>
                  </a:cubicBezTo>
                  <a:cubicBezTo>
                    <a:pt x="5827" y="17478"/>
                    <a:pt x="5880" y="17478"/>
                    <a:pt x="5933" y="17478"/>
                  </a:cubicBezTo>
                  <a:cubicBezTo>
                    <a:pt x="5937" y="17410"/>
                    <a:pt x="5924" y="17340"/>
                    <a:pt x="5945" y="17275"/>
                  </a:cubicBezTo>
                  <a:cubicBezTo>
                    <a:pt x="5988" y="17160"/>
                    <a:pt x="6181" y="17157"/>
                    <a:pt x="6229" y="17269"/>
                  </a:cubicBezTo>
                  <a:cubicBezTo>
                    <a:pt x="6257" y="17335"/>
                    <a:pt x="6241" y="17408"/>
                    <a:pt x="6245" y="17478"/>
                  </a:cubicBezTo>
                  <a:lnTo>
                    <a:pt x="6365" y="17478"/>
                  </a:lnTo>
                  <a:cubicBezTo>
                    <a:pt x="6370" y="17410"/>
                    <a:pt x="6353" y="17339"/>
                    <a:pt x="6376" y="17275"/>
                  </a:cubicBezTo>
                  <a:cubicBezTo>
                    <a:pt x="6424" y="17159"/>
                    <a:pt x="6618" y="17162"/>
                    <a:pt x="6662" y="17280"/>
                  </a:cubicBezTo>
                  <a:cubicBezTo>
                    <a:pt x="6681" y="17344"/>
                    <a:pt x="6667" y="17412"/>
                    <a:pt x="6670" y="17477"/>
                  </a:cubicBezTo>
                  <a:cubicBezTo>
                    <a:pt x="6729" y="17478"/>
                    <a:pt x="6787" y="17478"/>
                    <a:pt x="6846" y="17477"/>
                  </a:cubicBezTo>
                  <a:cubicBezTo>
                    <a:pt x="6783" y="17190"/>
                    <a:pt x="6722" y="16903"/>
                    <a:pt x="6660" y="16616"/>
                  </a:cubicBezTo>
                  <a:cubicBezTo>
                    <a:pt x="6490" y="16637"/>
                    <a:pt x="6228" y="16644"/>
                    <a:pt x="5959" y="16613"/>
                  </a:cubicBezTo>
                  <a:close/>
                  <a:moveTo>
                    <a:pt x="5755" y="17609"/>
                  </a:moveTo>
                  <a:cubicBezTo>
                    <a:pt x="5692" y="17939"/>
                    <a:pt x="5632" y="18269"/>
                    <a:pt x="5567" y="18598"/>
                  </a:cubicBezTo>
                  <a:cubicBezTo>
                    <a:pt x="6290" y="18591"/>
                    <a:pt x="6979" y="18592"/>
                    <a:pt x="7059" y="18593"/>
                  </a:cubicBezTo>
                  <a:cubicBezTo>
                    <a:pt x="6994" y="18265"/>
                    <a:pt x="6932" y="17937"/>
                    <a:pt x="6867" y="17609"/>
                  </a:cubicBezTo>
                  <a:cubicBezTo>
                    <a:pt x="6803" y="17609"/>
                    <a:pt x="6738" y="17609"/>
                    <a:pt x="6674" y="17609"/>
                  </a:cubicBezTo>
                  <a:cubicBezTo>
                    <a:pt x="6633" y="17795"/>
                    <a:pt x="6402" y="17798"/>
                    <a:pt x="6361" y="17609"/>
                  </a:cubicBezTo>
                  <a:cubicBezTo>
                    <a:pt x="6322" y="17609"/>
                    <a:pt x="6283" y="17609"/>
                    <a:pt x="6244" y="17609"/>
                  </a:cubicBezTo>
                  <a:cubicBezTo>
                    <a:pt x="6199" y="17809"/>
                    <a:pt x="5955" y="17771"/>
                    <a:pt x="5934" y="17611"/>
                  </a:cubicBezTo>
                  <a:cubicBezTo>
                    <a:pt x="5875" y="17608"/>
                    <a:pt x="5815" y="17609"/>
                    <a:pt x="5755" y="1760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2" name="Freeform 30">
              <a:extLst>
                <a:ext uri="{FF2B5EF4-FFF2-40B4-BE49-F238E27FC236}">
                  <a16:creationId xmlns:a16="http://schemas.microsoft.com/office/drawing/2014/main" id="{4B0B816F-5D0A-4865-A8BD-FBF5BBFC39C8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1" y="656"/>
              <a:ext cx="869" cy="2055"/>
            </a:xfrm>
            <a:custGeom>
              <a:avLst/>
              <a:gdLst>
                <a:gd name="T0" fmla="*/ 1573 w 4257"/>
                <a:gd name="T1" fmla="*/ 0 h 10044"/>
                <a:gd name="T2" fmla="*/ 1702 w 4257"/>
                <a:gd name="T3" fmla="*/ 5642 h 10044"/>
                <a:gd name="T4" fmla="*/ 4257 w 4257"/>
                <a:gd name="T5" fmla="*/ 10044 h 10044"/>
                <a:gd name="T6" fmla="*/ 2769 w 4257"/>
                <a:gd name="T7" fmla="*/ 8468 h 10044"/>
                <a:gd name="T8" fmla="*/ 886 w 4257"/>
                <a:gd name="T9" fmla="*/ 1515 h 10044"/>
                <a:gd name="T10" fmla="*/ 1573 w 4257"/>
                <a:gd name="T11" fmla="*/ 0 h 100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57" h="10044">
                  <a:moveTo>
                    <a:pt x="1573" y="0"/>
                  </a:moveTo>
                  <a:cubicBezTo>
                    <a:pt x="1180" y="1410"/>
                    <a:pt x="868" y="3114"/>
                    <a:pt x="1702" y="5642"/>
                  </a:cubicBezTo>
                  <a:cubicBezTo>
                    <a:pt x="2337" y="7547"/>
                    <a:pt x="2985" y="8247"/>
                    <a:pt x="4257" y="10044"/>
                  </a:cubicBezTo>
                  <a:cubicBezTo>
                    <a:pt x="4192" y="9985"/>
                    <a:pt x="2949" y="8642"/>
                    <a:pt x="2769" y="8468"/>
                  </a:cubicBezTo>
                  <a:cubicBezTo>
                    <a:pt x="1012" y="6679"/>
                    <a:pt x="0" y="4054"/>
                    <a:pt x="886" y="1515"/>
                  </a:cubicBezTo>
                  <a:cubicBezTo>
                    <a:pt x="1012" y="988"/>
                    <a:pt x="1290" y="411"/>
                    <a:pt x="157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3" name="Freeform 31">
              <a:extLst>
                <a:ext uri="{FF2B5EF4-FFF2-40B4-BE49-F238E27FC236}">
                  <a16:creationId xmlns:a16="http://schemas.microsoft.com/office/drawing/2014/main" id="{B87B6F6E-550D-4C75-AA39-49BDE947F45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22" y="701"/>
              <a:ext cx="958" cy="2135"/>
            </a:xfrm>
            <a:custGeom>
              <a:avLst/>
              <a:gdLst>
                <a:gd name="T0" fmla="*/ 3191 w 4693"/>
                <a:gd name="T1" fmla="*/ 0 h 10438"/>
                <a:gd name="T2" fmla="*/ 3938 w 4693"/>
                <a:gd name="T3" fmla="*/ 1428 h 10438"/>
                <a:gd name="T4" fmla="*/ 2155 w 4693"/>
                <a:gd name="T5" fmla="*/ 7731 h 10438"/>
                <a:gd name="T6" fmla="*/ 0 w 4693"/>
                <a:gd name="T7" fmla="*/ 10438 h 10438"/>
                <a:gd name="T8" fmla="*/ 3191 w 4693"/>
                <a:gd name="T9" fmla="*/ 0 h 10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93" h="10438">
                  <a:moveTo>
                    <a:pt x="3191" y="0"/>
                  </a:moveTo>
                  <a:cubicBezTo>
                    <a:pt x="3253" y="67"/>
                    <a:pt x="3683" y="650"/>
                    <a:pt x="3938" y="1428"/>
                  </a:cubicBezTo>
                  <a:cubicBezTo>
                    <a:pt x="4693" y="3690"/>
                    <a:pt x="3597" y="5830"/>
                    <a:pt x="2155" y="7731"/>
                  </a:cubicBezTo>
                  <a:cubicBezTo>
                    <a:pt x="1976" y="7967"/>
                    <a:pt x="1" y="10437"/>
                    <a:pt x="0" y="10438"/>
                  </a:cubicBezTo>
                  <a:cubicBezTo>
                    <a:pt x="1618" y="8144"/>
                    <a:pt x="4490" y="4811"/>
                    <a:pt x="319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04" name="Group 203">
            <a:extLst>
              <a:ext uri="{FF2B5EF4-FFF2-40B4-BE49-F238E27FC236}">
                <a16:creationId xmlns:a16="http://schemas.microsoft.com/office/drawing/2014/main" id="{FCF4275E-2CA9-4AED-8490-998892B41634}"/>
              </a:ext>
            </a:extLst>
          </p:cNvPr>
          <p:cNvGrpSpPr/>
          <p:nvPr/>
        </p:nvGrpSpPr>
        <p:grpSpPr>
          <a:xfrm>
            <a:off x="7242379" y="2588314"/>
            <a:ext cx="378494" cy="374765"/>
            <a:chOff x="2810649" y="2361178"/>
            <a:chExt cx="923499" cy="914400"/>
          </a:xfrm>
          <a:effectLst>
            <a:glow rad="254000">
              <a:schemeClr val="accent4">
                <a:satMod val="175000"/>
                <a:alpha val="20000"/>
              </a:schemeClr>
            </a:glow>
          </a:effectLst>
        </p:grpSpPr>
        <p:pic>
          <p:nvPicPr>
            <p:cNvPr id="205" name="Graphic 204" descr="Comet">
              <a:extLst>
                <a:ext uri="{FF2B5EF4-FFF2-40B4-BE49-F238E27FC236}">
                  <a16:creationId xmlns:a16="http://schemas.microsoft.com/office/drawing/2014/main" id="{94E79908-0441-4315-906B-43879932E37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2235324">
              <a:off x="2819748" y="2361178"/>
              <a:ext cx="914400" cy="914400"/>
            </a:xfrm>
            <a:prstGeom prst="rect">
              <a:avLst/>
            </a:prstGeom>
          </p:spPr>
        </p:pic>
        <p:sp>
          <p:nvSpPr>
            <p:cNvPr id="206" name="Oval 205">
              <a:extLst>
                <a:ext uri="{FF2B5EF4-FFF2-40B4-BE49-F238E27FC236}">
                  <a16:creationId xmlns:a16="http://schemas.microsoft.com/office/drawing/2014/main" id="{AF6008DB-3022-4B12-BD0E-E1BC1FC12EDC}"/>
                </a:ext>
              </a:extLst>
            </p:cNvPr>
            <p:cNvSpPr/>
            <p:nvPr/>
          </p:nvSpPr>
          <p:spPr>
            <a:xfrm>
              <a:off x="2810649" y="2712462"/>
              <a:ext cx="319600" cy="319600"/>
            </a:xfrm>
            <a:prstGeom prst="ellipse">
              <a:avLst/>
            </a:prstGeom>
            <a:solidFill>
              <a:srgbClr val="F39C12"/>
            </a:solidFill>
            <a:ln>
              <a:noFill/>
            </a:ln>
            <a:effectLst>
              <a:glow rad="254000">
                <a:schemeClr val="accent4">
                  <a:satMod val="175000"/>
                  <a:alpha val="2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07" name="Group 206">
            <a:extLst>
              <a:ext uri="{FF2B5EF4-FFF2-40B4-BE49-F238E27FC236}">
                <a16:creationId xmlns:a16="http://schemas.microsoft.com/office/drawing/2014/main" id="{81EF44EC-FC38-40DA-A2AE-EDE86EC3668A}"/>
              </a:ext>
            </a:extLst>
          </p:cNvPr>
          <p:cNvGrpSpPr/>
          <p:nvPr/>
        </p:nvGrpSpPr>
        <p:grpSpPr>
          <a:xfrm>
            <a:off x="6984133" y="2627705"/>
            <a:ext cx="548775" cy="543368"/>
            <a:chOff x="2810649" y="2361178"/>
            <a:chExt cx="923499" cy="914400"/>
          </a:xfrm>
          <a:effectLst>
            <a:glow rad="254000">
              <a:schemeClr val="accent4">
                <a:satMod val="175000"/>
                <a:alpha val="20000"/>
              </a:schemeClr>
            </a:glow>
          </a:effectLst>
        </p:grpSpPr>
        <p:pic>
          <p:nvPicPr>
            <p:cNvPr id="208" name="Graphic 207" descr="Comet">
              <a:extLst>
                <a:ext uri="{FF2B5EF4-FFF2-40B4-BE49-F238E27FC236}">
                  <a16:creationId xmlns:a16="http://schemas.microsoft.com/office/drawing/2014/main" id="{BD149561-BB7B-4E09-AF92-5F7F7E7AB59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2235324">
              <a:off x="2819748" y="2361178"/>
              <a:ext cx="914400" cy="914400"/>
            </a:xfrm>
            <a:prstGeom prst="rect">
              <a:avLst/>
            </a:prstGeom>
          </p:spPr>
        </p:pic>
        <p:sp>
          <p:nvSpPr>
            <p:cNvPr id="209" name="Oval 208">
              <a:extLst>
                <a:ext uri="{FF2B5EF4-FFF2-40B4-BE49-F238E27FC236}">
                  <a16:creationId xmlns:a16="http://schemas.microsoft.com/office/drawing/2014/main" id="{BB692DC1-8420-4E8F-BEC2-7B8B2B4B3FC4}"/>
                </a:ext>
              </a:extLst>
            </p:cNvPr>
            <p:cNvSpPr/>
            <p:nvPr/>
          </p:nvSpPr>
          <p:spPr>
            <a:xfrm>
              <a:off x="2810649" y="2712462"/>
              <a:ext cx="319600" cy="319600"/>
            </a:xfrm>
            <a:prstGeom prst="ellipse">
              <a:avLst/>
            </a:prstGeom>
            <a:solidFill>
              <a:srgbClr val="F39C12"/>
            </a:solidFill>
            <a:ln>
              <a:noFill/>
            </a:ln>
            <a:effectLst>
              <a:glow rad="254000">
                <a:schemeClr val="accent4">
                  <a:satMod val="175000"/>
                  <a:alpha val="2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10" name="Group 209">
            <a:extLst>
              <a:ext uri="{FF2B5EF4-FFF2-40B4-BE49-F238E27FC236}">
                <a16:creationId xmlns:a16="http://schemas.microsoft.com/office/drawing/2014/main" id="{D45EF885-7EB8-4512-8234-5D39218230A7}"/>
              </a:ext>
            </a:extLst>
          </p:cNvPr>
          <p:cNvGrpSpPr/>
          <p:nvPr/>
        </p:nvGrpSpPr>
        <p:grpSpPr>
          <a:xfrm>
            <a:off x="7634838" y="2757111"/>
            <a:ext cx="361726" cy="358162"/>
            <a:chOff x="2810649" y="2361178"/>
            <a:chExt cx="923499" cy="914400"/>
          </a:xfrm>
          <a:effectLst>
            <a:glow rad="254000">
              <a:schemeClr val="accent4">
                <a:satMod val="175000"/>
                <a:alpha val="20000"/>
              </a:schemeClr>
            </a:glow>
          </a:effectLst>
        </p:grpSpPr>
        <p:pic>
          <p:nvPicPr>
            <p:cNvPr id="211" name="Graphic 210" descr="Comet">
              <a:extLst>
                <a:ext uri="{FF2B5EF4-FFF2-40B4-BE49-F238E27FC236}">
                  <a16:creationId xmlns:a16="http://schemas.microsoft.com/office/drawing/2014/main" id="{D03E3ECE-E15E-45DB-8486-63B05B40220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2235324">
              <a:off x="2819748" y="2361178"/>
              <a:ext cx="914400" cy="914400"/>
            </a:xfrm>
            <a:prstGeom prst="rect">
              <a:avLst/>
            </a:prstGeom>
          </p:spPr>
        </p:pic>
        <p:sp>
          <p:nvSpPr>
            <p:cNvPr id="212" name="Oval 211">
              <a:extLst>
                <a:ext uri="{FF2B5EF4-FFF2-40B4-BE49-F238E27FC236}">
                  <a16:creationId xmlns:a16="http://schemas.microsoft.com/office/drawing/2014/main" id="{EB127D74-DF8F-486F-944D-C2E62AA463FB}"/>
                </a:ext>
              </a:extLst>
            </p:cNvPr>
            <p:cNvSpPr/>
            <p:nvPr/>
          </p:nvSpPr>
          <p:spPr>
            <a:xfrm>
              <a:off x="2810649" y="2712462"/>
              <a:ext cx="319600" cy="319600"/>
            </a:xfrm>
            <a:prstGeom prst="ellipse">
              <a:avLst/>
            </a:prstGeom>
            <a:solidFill>
              <a:srgbClr val="F39C12"/>
            </a:solidFill>
            <a:ln>
              <a:noFill/>
            </a:ln>
            <a:effectLst>
              <a:glow rad="254000">
                <a:schemeClr val="accent4">
                  <a:satMod val="175000"/>
                  <a:alpha val="2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13" name="ISS">
            <a:extLst>
              <a:ext uri="{FF2B5EF4-FFF2-40B4-BE49-F238E27FC236}">
                <a16:creationId xmlns:a16="http://schemas.microsoft.com/office/drawing/2014/main" id="{71007EC8-56FD-43B6-A748-F99D3F662BC9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 rot="18187088">
            <a:off x="3203908" y="774775"/>
            <a:ext cx="795641" cy="781507"/>
            <a:chOff x="1643" y="0"/>
            <a:chExt cx="4391" cy="4313"/>
          </a:xfrm>
          <a:solidFill>
            <a:schemeClr val="bg1">
              <a:lumMod val="95000"/>
            </a:schemeClr>
          </a:solidFill>
        </p:grpSpPr>
        <p:sp>
          <p:nvSpPr>
            <p:cNvPr id="214" name="Freeform 48">
              <a:extLst>
                <a:ext uri="{FF2B5EF4-FFF2-40B4-BE49-F238E27FC236}">
                  <a16:creationId xmlns:a16="http://schemas.microsoft.com/office/drawing/2014/main" id="{A50D63D4-03DF-4B28-B23C-FA195433FE2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6" y="304"/>
              <a:ext cx="1078" cy="922"/>
            </a:xfrm>
            <a:custGeom>
              <a:avLst/>
              <a:gdLst>
                <a:gd name="T0" fmla="*/ 3127 w 3127"/>
                <a:gd name="T1" fmla="*/ 684 h 2672"/>
                <a:gd name="T2" fmla="*/ 749 w 3127"/>
                <a:gd name="T3" fmla="*/ 2672 h 2672"/>
                <a:gd name="T4" fmla="*/ 454 w 3127"/>
                <a:gd name="T5" fmla="*/ 2372 h 2672"/>
                <a:gd name="T6" fmla="*/ 2839 w 3127"/>
                <a:gd name="T7" fmla="*/ 423 h 2672"/>
                <a:gd name="T8" fmla="*/ 2712 w 3127"/>
                <a:gd name="T9" fmla="*/ 293 h 2672"/>
                <a:gd name="T10" fmla="*/ 307 w 3127"/>
                <a:gd name="T11" fmla="*/ 2224 h 2672"/>
                <a:gd name="T12" fmla="*/ 0 w 3127"/>
                <a:gd name="T13" fmla="*/ 1913 h 2672"/>
                <a:gd name="T14" fmla="*/ 2452 w 3127"/>
                <a:gd name="T15" fmla="*/ 0 h 2672"/>
                <a:gd name="T16" fmla="*/ 3127 w 3127"/>
                <a:gd name="T17" fmla="*/ 684 h 2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27" h="2672">
                  <a:moveTo>
                    <a:pt x="3127" y="684"/>
                  </a:moveTo>
                  <a:lnTo>
                    <a:pt x="749" y="2672"/>
                  </a:lnTo>
                  <a:lnTo>
                    <a:pt x="454" y="2372"/>
                  </a:lnTo>
                  <a:lnTo>
                    <a:pt x="2839" y="423"/>
                  </a:lnTo>
                  <a:lnTo>
                    <a:pt x="2712" y="293"/>
                  </a:lnTo>
                  <a:lnTo>
                    <a:pt x="307" y="2224"/>
                  </a:lnTo>
                  <a:lnTo>
                    <a:pt x="0" y="1913"/>
                  </a:lnTo>
                  <a:lnTo>
                    <a:pt x="2452" y="0"/>
                  </a:lnTo>
                  <a:lnTo>
                    <a:pt x="3127" y="68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5" name="Freeform 49">
              <a:extLst>
                <a:ext uri="{FF2B5EF4-FFF2-40B4-BE49-F238E27FC236}">
                  <a16:creationId xmlns:a16="http://schemas.microsoft.com/office/drawing/2014/main" id="{8866FC85-A408-44A7-AC75-653A50389C04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8" y="1108"/>
              <a:ext cx="1369" cy="1163"/>
            </a:xfrm>
            <a:custGeom>
              <a:avLst/>
              <a:gdLst>
                <a:gd name="T0" fmla="*/ 866 w 3976"/>
                <a:gd name="T1" fmla="*/ 3371 h 3371"/>
                <a:gd name="T2" fmla="*/ 3976 w 3976"/>
                <a:gd name="T3" fmla="*/ 776 h 3371"/>
                <a:gd name="T4" fmla="*/ 3673 w 3976"/>
                <a:gd name="T5" fmla="*/ 470 h 3371"/>
                <a:gd name="T6" fmla="*/ 546 w 3976"/>
                <a:gd name="T7" fmla="*/ 2999 h 3371"/>
                <a:gd name="T8" fmla="*/ 382 w 3976"/>
                <a:gd name="T9" fmla="*/ 2835 h 3371"/>
                <a:gd name="T10" fmla="*/ 3523 w 3976"/>
                <a:gd name="T11" fmla="*/ 319 h 3371"/>
                <a:gd name="T12" fmla="*/ 3208 w 3976"/>
                <a:gd name="T13" fmla="*/ 0 h 3371"/>
                <a:gd name="T14" fmla="*/ 0 w 3976"/>
                <a:gd name="T15" fmla="*/ 2498 h 3371"/>
                <a:gd name="T16" fmla="*/ 866 w 3976"/>
                <a:gd name="T17" fmla="*/ 3371 h 3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76" h="3371">
                  <a:moveTo>
                    <a:pt x="866" y="3371"/>
                  </a:moveTo>
                  <a:lnTo>
                    <a:pt x="3976" y="776"/>
                  </a:lnTo>
                  <a:lnTo>
                    <a:pt x="3673" y="470"/>
                  </a:lnTo>
                  <a:lnTo>
                    <a:pt x="546" y="2999"/>
                  </a:lnTo>
                  <a:lnTo>
                    <a:pt x="382" y="2835"/>
                  </a:lnTo>
                  <a:lnTo>
                    <a:pt x="3523" y="319"/>
                  </a:lnTo>
                  <a:lnTo>
                    <a:pt x="3208" y="0"/>
                  </a:lnTo>
                  <a:lnTo>
                    <a:pt x="0" y="2498"/>
                  </a:lnTo>
                  <a:lnTo>
                    <a:pt x="866" y="337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6" name="Freeform 50">
              <a:extLst>
                <a:ext uri="{FF2B5EF4-FFF2-40B4-BE49-F238E27FC236}">
                  <a16:creationId xmlns:a16="http://schemas.microsoft.com/office/drawing/2014/main" id="{110D2C80-AD2A-4EEF-953F-B49ABC13A46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3" y="0"/>
              <a:ext cx="1112" cy="891"/>
            </a:xfrm>
            <a:custGeom>
              <a:avLst/>
              <a:gdLst>
                <a:gd name="T0" fmla="*/ 3229 w 3229"/>
                <a:gd name="T1" fmla="*/ 686 h 2581"/>
                <a:gd name="T2" fmla="*/ 752 w 3229"/>
                <a:gd name="T3" fmla="*/ 2581 h 2581"/>
                <a:gd name="T4" fmla="*/ 455 w 3229"/>
                <a:gd name="T5" fmla="*/ 2280 h 2581"/>
                <a:gd name="T6" fmla="*/ 2940 w 3229"/>
                <a:gd name="T7" fmla="*/ 424 h 2581"/>
                <a:gd name="T8" fmla="*/ 2812 w 3229"/>
                <a:gd name="T9" fmla="*/ 294 h 2581"/>
                <a:gd name="T10" fmla="*/ 309 w 3229"/>
                <a:gd name="T11" fmla="*/ 2132 h 2581"/>
                <a:gd name="T12" fmla="*/ 0 w 3229"/>
                <a:gd name="T13" fmla="*/ 1819 h 2581"/>
                <a:gd name="T14" fmla="*/ 2551 w 3229"/>
                <a:gd name="T15" fmla="*/ 0 h 2581"/>
                <a:gd name="T16" fmla="*/ 3229 w 3229"/>
                <a:gd name="T17" fmla="*/ 686 h 25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29" h="2581">
                  <a:moveTo>
                    <a:pt x="3229" y="686"/>
                  </a:moveTo>
                  <a:lnTo>
                    <a:pt x="752" y="2581"/>
                  </a:lnTo>
                  <a:lnTo>
                    <a:pt x="455" y="2280"/>
                  </a:lnTo>
                  <a:lnTo>
                    <a:pt x="2940" y="424"/>
                  </a:lnTo>
                  <a:lnTo>
                    <a:pt x="2812" y="294"/>
                  </a:lnTo>
                  <a:lnTo>
                    <a:pt x="309" y="2132"/>
                  </a:lnTo>
                  <a:lnTo>
                    <a:pt x="0" y="1819"/>
                  </a:lnTo>
                  <a:lnTo>
                    <a:pt x="2551" y="0"/>
                  </a:lnTo>
                  <a:lnTo>
                    <a:pt x="3229" y="68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7" name="Freeform 51">
              <a:extLst>
                <a:ext uri="{FF2B5EF4-FFF2-40B4-BE49-F238E27FC236}">
                  <a16:creationId xmlns:a16="http://schemas.microsoft.com/office/drawing/2014/main" id="{D40D45E3-22F1-4BE0-B00F-CE8FA1027E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3" y="764"/>
              <a:ext cx="1416" cy="1123"/>
            </a:xfrm>
            <a:custGeom>
              <a:avLst/>
              <a:gdLst>
                <a:gd name="T0" fmla="*/ 869 w 4110"/>
                <a:gd name="T1" fmla="*/ 3252 h 3252"/>
                <a:gd name="T2" fmla="*/ 4110 w 4110"/>
                <a:gd name="T3" fmla="*/ 778 h 3252"/>
                <a:gd name="T4" fmla="*/ 3806 w 4110"/>
                <a:gd name="T5" fmla="*/ 471 h 3252"/>
                <a:gd name="T6" fmla="*/ 549 w 4110"/>
                <a:gd name="T7" fmla="*/ 2880 h 3252"/>
                <a:gd name="T8" fmla="*/ 385 w 4110"/>
                <a:gd name="T9" fmla="*/ 2716 h 3252"/>
                <a:gd name="T10" fmla="*/ 3655 w 4110"/>
                <a:gd name="T11" fmla="*/ 320 h 3252"/>
                <a:gd name="T12" fmla="*/ 3340 w 4110"/>
                <a:gd name="T13" fmla="*/ 0 h 3252"/>
                <a:gd name="T14" fmla="*/ 0 w 4110"/>
                <a:gd name="T15" fmla="*/ 2377 h 3252"/>
                <a:gd name="T16" fmla="*/ 869 w 4110"/>
                <a:gd name="T17" fmla="*/ 3252 h 3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10" h="3252">
                  <a:moveTo>
                    <a:pt x="869" y="3252"/>
                  </a:moveTo>
                  <a:lnTo>
                    <a:pt x="4110" y="778"/>
                  </a:lnTo>
                  <a:lnTo>
                    <a:pt x="3806" y="471"/>
                  </a:lnTo>
                  <a:lnTo>
                    <a:pt x="549" y="2880"/>
                  </a:lnTo>
                  <a:lnTo>
                    <a:pt x="385" y="2716"/>
                  </a:lnTo>
                  <a:lnTo>
                    <a:pt x="3655" y="320"/>
                  </a:lnTo>
                  <a:lnTo>
                    <a:pt x="3340" y="0"/>
                  </a:lnTo>
                  <a:lnTo>
                    <a:pt x="0" y="2377"/>
                  </a:lnTo>
                  <a:lnTo>
                    <a:pt x="869" y="325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8" name="Freeform 52">
              <a:extLst>
                <a:ext uri="{FF2B5EF4-FFF2-40B4-BE49-F238E27FC236}">
                  <a16:creationId xmlns:a16="http://schemas.microsoft.com/office/drawing/2014/main" id="{6A77D9BD-F337-40FE-B2CD-D2F8826244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3" y="1929"/>
              <a:ext cx="891" cy="1090"/>
            </a:xfrm>
            <a:custGeom>
              <a:avLst/>
              <a:gdLst>
                <a:gd name="T0" fmla="*/ 2588 w 2588"/>
                <a:gd name="T1" fmla="*/ 671 h 3160"/>
                <a:gd name="T2" fmla="*/ 735 w 2588"/>
                <a:gd name="T3" fmla="*/ 3160 h 3160"/>
                <a:gd name="T4" fmla="*/ 445 w 2588"/>
                <a:gd name="T5" fmla="*/ 2866 h 3160"/>
                <a:gd name="T6" fmla="*/ 2309 w 2588"/>
                <a:gd name="T7" fmla="*/ 419 h 3160"/>
                <a:gd name="T8" fmla="*/ 2184 w 2588"/>
                <a:gd name="T9" fmla="*/ 292 h 3160"/>
                <a:gd name="T10" fmla="*/ 301 w 2588"/>
                <a:gd name="T11" fmla="*/ 2722 h 3160"/>
                <a:gd name="T12" fmla="*/ 0 w 2588"/>
                <a:gd name="T13" fmla="*/ 2417 h 3160"/>
                <a:gd name="T14" fmla="*/ 1925 w 2588"/>
                <a:gd name="T15" fmla="*/ 0 h 3160"/>
                <a:gd name="T16" fmla="*/ 2588 w 2588"/>
                <a:gd name="T17" fmla="*/ 671 h 3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8" h="3160">
                  <a:moveTo>
                    <a:pt x="2588" y="671"/>
                  </a:moveTo>
                  <a:lnTo>
                    <a:pt x="735" y="3160"/>
                  </a:lnTo>
                  <a:lnTo>
                    <a:pt x="445" y="2866"/>
                  </a:lnTo>
                  <a:lnTo>
                    <a:pt x="2309" y="419"/>
                  </a:lnTo>
                  <a:lnTo>
                    <a:pt x="2184" y="292"/>
                  </a:lnTo>
                  <a:lnTo>
                    <a:pt x="301" y="2722"/>
                  </a:lnTo>
                  <a:lnTo>
                    <a:pt x="0" y="2417"/>
                  </a:lnTo>
                  <a:lnTo>
                    <a:pt x="1925" y="0"/>
                  </a:lnTo>
                  <a:lnTo>
                    <a:pt x="2588" y="67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9" name="Freeform 53">
              <a:extLst>
                <a:ext uri="{FF2B5EF4-FFF2-40B4-BE49-F238E27FC236}">
                  <a16:creationId xmlns:a16="http://schemas.microsoft.com/office/drawing/2014/main" id="{0A63DCE5-0C0F-4D5E-925C-0A93E4F3F9E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9" y="2940"/>
              <a:ext cx="1119" cy="1373"/>
            </a:xfrm>
            <a:custGeom>
              <a:avLst/>
              <a:gdLst>
                <a:gd name="T0" fmla="*/ 846 w 3247"/>
                <a:gd name="T1" fmla="*/ 3979 h 3979"/>
                <a:gd name="T2" fmla="*/ 3247 w 3247"/>
                <a:gd name="T3" fmla="*/ 759 h 3979"/>
                <a:gd name="T4" fmla="*/ 2907 w 3247"/>
                <a:gd name="T5" fmla="*/ 417 h 3979"/>
                <a:gd name="T6" fmla="*/ 2897 w 3247"/>
                <a:gd name="T7" fmla="*/ 431 h 3979"/>
                <a:gd name="T8" fmla="*/ 2939 w 3247"/>
                <a:gd name="T9" fmla="*/ 473 h 3979"/>
                <a:gd name="T10" fmla="*/ 529 w 3247"/>
                <a:gd name="T11" fmla="*/ 3609 h 3979"/>
                <a:gd name="T12" fmla="*/ 368 w 3247"/>
                <a:gd name="T13" fmla="*/ 3449 h 3979"/>
                <a:gd name="T14" fmla="*/ 2792 w 3247"/>
                <a:gd name="T15" fmla="*/ 327 h 3979"/>
                <a:gd name="T16" fmla="*/ 2808 w 3247"/>
                <a:gd name="T17" fmla="*/ 342 h 3979"/>
                <a:gd name="T18" fmla="*/ 2819 w 3247"/>
                <a:gd name="T19" fmla="*/ 328 h 3979"/>
                <a:gd name="T20" fmla="*/ 2495 w 3247"/>
                <a:gd name="T21" fmla="*/ 0 h 3979"/>
                <a:gd name="T22" fmla="*/ 0 w 3247"/>
                <a:gd name="T23" fmla="*/ 3126 h 3979"/>
                <a:gd name="T24" fmla="*/ 846 w 3247"/>
                <a:gd name="T25" fmla="*/ 3979 h 3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47" h="3979">
                  <a:moveTo>
                    <a:pt x="846" y="3979"/>
                  </a:moveTo>
                  <a:lnTo>
                    <a:pt x="3247" y="759"/>
                  </a:lnTo>
                  <a:lnTo>
                    <a:pt x="2907" y="417"/>
                  </a:lnTo>
                  <a:lnTo>
                    <a:pt x="2897" y="431"/>
                  </a:lnTo>
                  <a:lnTo>
                    <a:pt x="2939" y="473"/>
                  </a:lnTo>
                  <a:lnTo>
                    <a:pt x="529" y="3609"/>
                  </a:lnTo>
                  <a:lnTo>
                    <a:pt x="368" y="3449"/>
                  </a:lnTo>
                  <a:lnTo>
                    <a:pt x="2792" y="327"/>
                  </a:lnTo>
                  <a:lnTo>
                    <a:pt x="2808" y="342"/>
                  </a:lnTo>
                  <a:lnTo>
                    <a:pt x="2819" y="328"/>
                  </a:lnTo>
                  <a:lnTo>
                    <a:pt x="2495" y="0"/>
                  </a:lnTo>
                  <a:lnTo>
                    <a:pt x="0" y="3126"/>
                  </a:lnTo>
                  <a:lnTo>
                    <a:pt x="846" y="397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0" name="Freeform 54">
              <a:extLst>
                <a:ext uri="{FF2B5EF4-FFF2-40B4-BE49-F238E27FC236}">
                  <a16:creationId xmlns:a16="http://schemas.microsoft.com/office/drawing/2014/main" id="{2C03A084-754B-4F7B-B9A1-198D95426D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6" y="1629"/>
              <a:ext cx="925" cy="1060"/>
            </a:xfrm>
            <a:custGeom>
              <a:avLst/>
              <a:gdLst>
                <a:gd name="T0" fmla="*/ 2685 w 2685"/>
                <a:gd name="T1" fmla="*/ 674 h 3072"/>
                <a:gd name="T2" fmla="*/ 738 w 2685"/>
                <a:gd name="T3" fmla="*/ 3072 h 3072"/>
                <a:gd name="T4" fmla="*/ 412 w 2685"/>
                <a:gd name="T5" fmla="*/ 2742 h 3072"/>
                <a:gd name="T6" fmla="*/ 423 w 2685"/>
                <a:gd name="T7" fmla="*/ 2728 h 3072"/>
                <a:gd name="T8" fmla="*/ 458 w 2685"/>
                <a:gd name="T9" fmla="*/ 2763 h 3072"/>
                <a:gd name="T10" fmla="*/ 2405 w 2685"/>
                <a:gd name="T11" fmla="*/ 420 h 3072"/>
                <a:gd name="T12" fmla="*/ 2280 w 2685"/>
                <a:gd name="T13" fmla="*/ 293 h 3072"/>
                <a:gd name="T14" fmla="*/ 315 w 2685"/>
                <a:gd name="T15" fmla="*/ 2618 h 3072"/>
                <a:gd name="T16" fmla="*/ 332 w 2685"/>
                <a:gd name="T17" fmla="*/ 2636 h 3072"/>
                <a:gd name="T18" fmla="*/ 320 w 2685"/>
                <a:gd name="T19" fmla="*/ 2650 h 3072"/>
                <a:gd name="T20" fmla="*/ 0 w 2685"/>
                <a:gd name="T21" fmla="*/ 2326 h 3072"/>
                <a:gd name="T22" fmla="*/ 2021 w 2685"/>
                <a:gd name="T23" fmla="*/ 0 h 3072"/>
                <a:gd name="T24" fmla="*/ 2685 w 2685"/>
                <a:gd name="T25" fmla="*/ 674 h 30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85" h="3072">
                  <a:moveTo>
                    <a:pt x="2685" y="674"/>
                  </a:moveTo>
                  <a:lnTo>
                    <a:pt x="738" y="3072"/>
                  </a:lnTo>
                  <a:lnTo>
                    <a:pt x="412" y="2742"/>
                  </a:lnTo>
                  <a:lnTo>
                    <a:pt x="423" y="2728"/>
                  </a:lnTo>
                  <a:lnTo>
                    <a:pt x="458" y="2763"/>
                  </a:lnTo>
                  <a:lnTo>
                    <a:pt x="2405" y="420"/>
                  </a:lnTo>
                  <a:lnTo>
                    <a:pt x="2280" y="293"/>
                  </a:lnTo>
                  <a:lnTo>
                    <a:pt x="315" y="2618"/>
                  </a:lnTo>
                  <a:lnTo>
                    <a:pt x="332" y="2636"/>
                  </a:lnTo>
                  <a:lnTo>
                    <a:pt x="320" y="2650"/>
                  </a:lnTo>
                  <a:lnTo>
                    <a:pt x="0" y="2326"/>
                  </a:lnTo>
                  <a:lnTo>
                    <a:pt x="2021" y="0"/>
                  </a:lnTo>
                  <a:lnTo>
                    <a:pt x="2685" y="67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1" name="Freeform 55">
              <a:extLst>
                <a:ext uri="{FF2B5EF4-FFF2-40B4-BE49-F238E27FC236}">
                  <a16:creationId xmlns:a16="http://schemas.microsoft.com/office/drawing/2014/main" id="{1ED6CCF0-8EA3-4E16-9066-83678196490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2" y="2603"/>
              <a:ext cx="1162" cy="1333"/>
            </a:xfrm>
            <a:custGeom>
              <a:avLst/>
              <a:gdLst>
                <a:gd name="T0" fmla="*/ 849 w 3375"/>
                <a:gd name="T1" fmla="*/ 3865 h 3865"/>
                <a:gd name="T2" fmla="*/ 3375 w 3375"/>
                <a:gd name="T3" fmla="*/ 761 h 3865"/>
                <a:gd name="T4" fmla="*/ 3048 w 3375"/>
                <a:gd name="T5" fmla="*/ 431 h 3865"/>
                <a:gd name="T6" fmla="*/ 3027 w 3375"/>
                <a:gd name="T7" fmla="*/ 456 h 3865"/>
                <a:gd name="T8" fmla="*/ 3060 w 3375"/>
                <a:gd name="T9" fmla="*/ 481 h 3865"/>
                <a:gd name="T10" fmla="*/ 531 w 3375"/>
                <a:gd name="T11" fmla="*/ 3495 h 3865"/>
                <a:gd name="T12" fmla="*/ 371 w 3375"/>
                <a:gd name="T13" fmla="*/ 3334 h 3865"/>
                <a:gd name="T14" fmla="*/ 2910 w 3375"/>
                <a:gd name="T15" fmla="*/ 336 h 3865"/>
                <a:gd name="T16" fmla="*/ 2949 w 3375"/>
                <a:gd name="T17" fmla="*/ 372 h 3865"/>
                <a:gd name="T18" fmla="*/ 2968 w 3375"/>
                <a:gd name="T19" fmla="*/ 351 h 3865"/>
                <a:gd name="T20" fmla="*/ 2621 w 3375"/>
                <a:gd name="T21" fmla="*/ 0 h 3865"/>
                <a:gd name="T22" fmla="*/ 0 w 3375"/>
                <a:gd name="T23" fmla="*/ 3009 h 3865"/>
                <a:gd name="T24" fmla="*/ 849 w 3375"/>
                <a:gd name="T25" fmla="*/ 3865 h 38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75" h="3865">
                  <a:moveTo>
                    <a:pt x="849" y="3865"/>
                  </a:moveTo>
                  <a:lnTo>
                    <a:pt x="3375" y="761"/>
                  </a:lnTo>
                  <a:lnTo>
                    <a:pt x="3048" y="431"/>
                  </a:lnTo>
                  <a:lnTo>
                    <a:pt x="3027" y="456"/>
                  </a:lnTo>
                  <a:lnTo>
                    <a:pt x="3060" y="481"/>
                  </a:lnTo>
                  <a:lnTo>
                    <a:pt x="531" y="3495"/>
                  </a:lnTo>
                  <a:lnTo>
                    <a:pt x="371" y="3334"/>
                  </a:lnTo>
                  <a:lnTo>
                    <a:pt x="2910" y="336"/>
                  </a:lnTo>
                  <a:lnTo>
                    <a:pt x="2949" y="372"/>
                  </a:lnTo>
                  <a:lnTo>
                    <a:pt x="2968" y="351"/>
                  </a:lnTo>
                  <a:lnTo>
                    <a:pt x="2621" y="0"/>
                  </a:lnTo>
                  <a:lnTo>
                    <a:pt x="0" y="3009"/>
                  </a:lnTo>
                  <a:lnTo>
                    <a:pt x="849" y="386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2" name="Freeform 56">
              <a:extLst>
                <a:ext uri="{FF2B5EF4-FFF2-40B4-BE49-F238E27FC236}">
                  <a16:creationId xmlns:a16="http://schemas.microsoft.com/office/drawing/2014/main" id="{69B41C8F-0A5F-4597-8440-7721C73EB7A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27" y="2510"/>
              <a:ext cx="574" cy="578"/>
            </a:xfrm>
            <a:custGeom>
              <a:avLst/>
              <a:gdLst>
                <a:gd name="T0" fmla="*/ 1665 w 1665"/>
                <a:gd name="T1" fmla="*/ 1165 h 1676"/>
                <a:gd name="T2" fmla="*/ 1653 w 1665"/>
                <a:gd name="T3" fmla="*/ 1181 h 1676"/>
                <a:gd name="T4" fmla="*/ 1618 w 1665"/>
                <a:gd name="T5" fmla="*/ 1146 h 1676"/>
                <a:gd name="T6" fmla="*/ 1437 w 1665"/>
                <a:gd name="T7" fmla="*/ 1382 h 1676"/>
                <a:gd name="T8" fmla="*/ 1378 w 1665"/>
                <a:gd name="T9" fmla="*/ 1323 h 1676"/>
                <a:gd name="T10" fmla="*/ 1310 w 1665"/>
                <a:gd name="T11" fmla="*/ 1355 h 1676"/>
                <a:gd name="T12" fmla="*/ 1293 w 1665"/>
                <a:gd name="T13" fmla="*/ 1377 h 1676"/>
                <a:gd name="T14" fmla="*/ 1321 w 1665"/>
                <a:gd name="T15" fmla="*/ 1406 h 1676"/>
                <a:gd name="T16" fmla="*/ 1264 w 1665"/>
                <a:gd name="T17" fmla="*/ 1480 h 1676"/>
                <a:gd name="T18" fmla="*/ 1291 w 1665"/>
                <a:gd name="T19" fmla="*/ 1507 h 1676"/>
                <a:gd name="T20" fmla="*/ 1160 w 1665"/>
                <a:gd name="T21" fmla="*/ 1676 h 1676"/>
                <a:gd name="T22" fmla="*/ 1071 w 1665"/>
                <a:gd name="T23" fmla="*/ 1587 h 1676"/>
                <a:gd name="T24" fmla="*/ 1201 w 1665"/>
                <a:gd name="T25" fmla="*/ 1421 h 1676"/>
                <a:gd name="T26" fmla="*/ 1201 w 1665"/>
                <a:gd name="T27" fmla="*/ 1370 h 1676"/>
                <a:gd name="T28" fmla="*/ 338 w 1665"/>
                <a:gd name="T29" fmla="*/ 499 h 1676"/>
                <a:gd name="T30" fmla="*/ 337 w 1665"/>
                <a:gd name="T31" fmla="*/ 553 h 1676"/>
                <a:gd name="T32" fmla="*/ 198 w 1665"/>
                <a:gd name="T33" fmla="*/ 720 h 1676"/>
                <a:gd name="T34" fmla="*/ 117 w 1665"/>
                <a:gd name="T35" fmla="*/ 639 h 1676"/>
                <a:gd name="T36" fmla="*/ 262 w 1665"/>
                <a:gd name="T37" fmla="*/ 468 h 1676"/>
                <a:gd name="T38" fmla="*/ 250 w 1665"/>
                <a:gd name="T39" fmla="*/ 419 h 1676"/>
                <a:gd name="T40" fmla="*/ 0 w 1665"/>
                <a:gd name="T41" fmla="*/ 167 h 1676"/>
                <a:gd name="T42" fmla="*/ 144 w 1665"/>
                <a:gd name="T43" fmla="*/ 0 h 1676"/>
                <a:gd name="T44" fmla="*/ 423 w 1665"/>
                <a:gd name="T45" fmla="*/ 282 h 1676"/>
                <a:gd name="T46" fmla="*/ 592 w 1665"/>
                <a:gd name="T47" fmla="*/ 81 h 1676"/>
                <a:gd name="T48" fmla="*/ 684 w 1665"/>
                <a:gd name="T49" fmla="*/ 174 h 1676"/>
                <a:gd name="T50" fmla="*/ 511 w 1665"/>
                <a:gd name="T51" fmla="*/ 380 h 1676"/>
                <a:gd name="T52" fmla="*/ 565 w 1665"/>
                <a:gd name="T53" fmla="*/ 436 h 1676"/>
                <a:gd name="T54" fmla="*/ 682 w 1665"/>
                <a:gd name="T55" fmla="*/ 339 h 1676"/>
                <a:gd name="T56" fmla="*/ 620 w 1665"/>
                <a:gd name="T57" fmla="*/ 511 h 1676"/>
                <a:gd name="T58" fmla="*/ 662 w 1665"/>
                <a:gd name="T59" fmla="*/ 493 h 1676"/>
                <a:gd name="T60" fmla="*/ 850 w 1665"/>
                <a:gd name="T61" fmla="*/ 509 h 1676"/>
                <a:gd name="T62" fmla="*/ 783 w 1665"/>
                <a:gd name="T63" fmla="*/ 655 h 1676"/>
                <a:gd name="T64" fmla="*/ 1380 w 1665"/>
                <a:gd name="T65" fmla="*/ 1259 h 1676"/>
                <a:gd name="T66" fmla="*/ 1533 w 1665"/>
                <a:gd name="T67" fmla="*/ 1062 h 1676"/>
                <a:gd name="T68" fmla="*/ 1509 w 1665"/>
                <a:gd name="T69" fmla="*/ 1037 h 1676"/>
                <a:gd name="T70" fmla="*/ 1522 w 1665"/>
                <a:gd name="T71" fmla="*/ 1021 h 1676"/>
                <a:gd name="T72" fmla="*/ 1665 w 1665"/>
                <a:gd name="T73" fmla="*/ 1165 h 1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65" h="1676">
                  <a:moveTo>
                    <a:pt x="1665" y="1165"/>
                  </a:moveTo>
                  <a:lnTo>
                    <a:pt x="1653" y="1181"/>
                  </a:lnTo>
                  <a:lnTo>
                    <a:pt x="1618" y="1146"/>
                  </a:lnTo>
                  <a:lnTo>
                    <a:pt x="1437" y="1382"/>
                  </a:lnTo>
                  <a:lnTo>
                    <a:pt x="1378" y="1323"/>
                  </a:lnTo>
                  <a:lnTo>
                    <a:pt x="1310" y="1355"/>
                  </a:lnTo>
                  <a:lnTo>
                    <a:pt x="1293" y="1377"/>
                  </a:lnTo>
                  <a:lnTo>
                    <a:pt x="1321" y="1406"/>
                  </a:lnTo>
                  <a:lnTo>
                    <a:pt x="1264" y="1480"/>
                  </a:lnTo>
                  <a:lnTo>
                    <a:pt x="1291" y="1507"/>
                  </a:lnTo>
                  <a:lnTo>
                    <a:pt x="1160" y="1676"/>
                  </a:lnTo>
                  <a:lnTo>
                    <a:pt x="1071" y="1587"/>
                  </a:lnTo>
                  <a:lnTo>
                    <a:pt x="1201" y="1421"/>
                  </a:lnTo>
                  <a:lnTo>
                    <a:pt x="1201" y="1370"/>
                  </a:lnTo>
                  <a:lnTo>
                    <a:pt x="338" y="499"/>
                  </a:lnTo>
                  <a:lnTo>
                    <a:pt x="337" y="553"/>
                  </a:lnTo>
                  <a:lnTo>
                    <a:pt x="198" y="720"/>
                  </a:lnTo>
                  <a:lnTo>
                    <a:pt x="117" y="639"/>
                  </a:lnTo>
                  <a:lnTo>
                    <a:pt x="262" y="468"/>
                  </a:lnTo>
                  <a:lnTo>
                    <a:pt x="250" y="419"/>
                  </a:lnTo>
                  <a:lnTo>
                    <a:pt x="0" y="167"/>
                  </a:lnTo>
                  <a:lnTo>
                    <a:pt x="144" y="0"/>
                  </a:lnTo>
                  <a:lnTo>
                    <a:pt x="423" y="282"/>
                  </a:lnTo>
                  <a:lnTo>
                    <a:pt x="592" y="81"/>
                  </a:lnTo>
                  <a:lnTo>
                    <a:pt x="684" y="174"/>
                  </a:lnTo>
                  <a:lnTo>
                    <a:pt x="511" y="380"/>
                  </a:lnTo>
                  <a:lnTo>
                    <a:pt x="565" y="436"/>
                  </a:lnTo>
                  <a:lnTo>
                    <a:pt x="682" y="339"/>
                  </a:lnTo>
                  <a:lnTo>
                    <a:pt x="620" y="511"/>
                  </a:lnTo>
                  <a:lnTo>
                    <a:pt x="662" y="493"/>
                  </a:lnTo>
                  <a:lnTo>
                    <a:pt x="850" y="509"/>
                  </a:lnTo>
                  <a:lnTo>
                    <a:pt x="783" y="655"/>
                  </a:lnTo>
                  <a:lnTo>
                    <a:pt x="1380" y="1259"/>
                  </a:lnTo>
                  <a:lnTo>
                    <a:pt x="1533" y="1062"/>
                  </a:lnTo>
                  <a:lnTo>
                    <a:pt x="1509" y="1037"/>
                  </a:lnTo>
                  <a:lnTo>
                    <a:pt x="1522" y="1021"/>
                  </a:lnTo>
                  <a:lnTo>
                    <a:pt x="1665" y="116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3" name="Freeform 57">
              <a:extLst>
                <a:ext uri="{FF2B5EF4-FFF2-40B4-BE49-F238E27FC236}">
                  <a16:creationId xmlns:a16="http://schemas.microsoft.com/office/drawing/2014/main" id="{1E5E1B55-5C85-453E-8C63-36BC5DCEA6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6" y="731"/>
              <a:ext cx="634" cy="595"/>
            </a:xfrm>
            <a:custGeom>
              <a:avLst/>
              <a:gdLst>
                <a:gd name="T0" fmla="*/ 0 w 1841"/>
                <a:gd name="T1" fmla="*/ 427 h 1725"/>
                <a:gd name="T2" fmla="*/ 18 w 1841"/>
                <a:gd name="T3" fmla="*/ 415 h 1725"/>
                <a:gd name="T4" fmla="*/ 41 w 1841"/>
                <a:gd name="T5" fmla="*/ 437 h 1725"/>
                <a:gd name="T6" fmla="*/ 290 w 1841"/>
                <a:gd name="T7" fmla="*/ 254 h 1725"/>
                <a:gd name="T8" fmla="*/ 351 w 1841"/>
                <a:gd name="T9" fmla="*/ 315 h 1725"/>
                <a:gd name="T10" fmla="*/ 434 w 1841"/>
                <a:gd name="T11" fmla="*/ 297 h 1725"/>
                <a:gd name="T12" fmla="*/ 457 w 1841"/>
                <a:gd name="T13" fmla="*/ 280 h 1725"/>
                <a:gd name="T14" fmla="*/ 428 w 1841"/>
                <a:gd name="T15" fmla="*/ 250 h 1725"/>
                <a:gd name="T16" fmla="*/ 504 w 1841"/>
                <a:gd name="T17" fmla="*/ 195 h 1725"/>
                <a:gd name="T18" fmla="*/ 477 w 1841"/>
                <a:gd name="T19" fmla="*/ 168 h 1725"/>
                <a:gd name="T20" fmla="*/ 650 w 1841"/>
                <a:gd name="T21" fmla="*/ 40 h 1725"/>
                <a:gd name="T22" fmla="*/ 621 w 1841"/>
                <a:gd name="T23" fmla="*/ 12 h 1725"/>
                <a:gd name="T24" fmla="*/ 636 w 1841"/>
                <a:gd name="T25" fmla="*/ 0 h 1725"/>
                <a:gd name="T26" fmla="*/ 783 w 1841"/>
                <a:gd name="T27" fmla="*/ 148 h 1725"/>
                <a:gd name="T28" fmla="*/ 768 w 1841"/>
                <a:gd name="T29" fmla="*/ 160 h 1725"/>
                <a:gd name="T30" fmla="*/ 738 w 1841"/>
                <a:gd name="T31" fmla="*/ 130 h 1725"/>
                <a:gd name="T32" fmla="*/ 569 w 1841"/>
                <a:gd name="T33" fmla="*/ 256 h 1725"/>
                <a:gd name="T34" fmla="*/ 563 w 1841"/>
                <a:gd name="T35" fmla="*/ 300 h 1725"/>
                <a:gd name="T36" fmla="*/ 1436 w 1841"/>
                <a:gd name="T37" fmla="*/ 1183 h 1725"/>
                <a:gd name="T38" fmla="*/ 1442 w 1841"/>
                <a:gd name="T39" fmla="*/ 1133 h 1725"/>
                <a:gd name="T40" fmla="*/ 1595 w 1841"/>
                <a:gd name="T41" fmla="*/ 1010 h 1725"/>
                <a:gd name="T42" fmla="*/ 1578 w 1841"/>
                <a:gd name="T43" fmla="*/ 993 h 1725"/>
                <a:gd name="T44" fmla="*/ 1591 w 1841"/>
                <a:gd name="T45" fmla="*/ 982 h 1725"/>
                <a:gd name="T46" fmla="*/ 1738 w 1841"/>
                <a:gd name="T47" fmla="*/ 1129 h 1725"/>
                <a:gd name="T48" fmla="*/ 1725 w 1841"/>
                <a:gd name="T49" fmla="*/ 1140 h 1725"/>
                <a:gd name="T50" fmla="*/ 1675 w 1841"/>
                <a:gd name="T51" fmla="*/ 1091 h 1725"/>
                <a:gd name="T52" fmla="*/ 1517 w 1841"/>
                <a:gd name="T53" fmla="*/ 1219 h 1725"/>
                <a:gd name="T54" fmla="*/ 1527 w 1841"/>
                <a:gd name="T55" fmla="*/ 1264 h 1725"/>
                <a:gd name="T56" fmla="*/ 1841 w 1841"/>
                <a:gd name="T57" fmla="*/ 1582 h 1725"/>
                <a:gd name="T58" fmla="*/ 1670 w 1841"/>
                <a:gd name="T59" fmla="*/ 1725 h 1725"/>
                <a:gd name="T60" fmla="*/ 1322 w 1841"/>
                <a:gd name="T61" fmla="*/ 1373 h 1725"/>
                <a:gd name="T62" fmla="*/ 1125 w 1841"/>
                <a:gd name="T63" fmla="*/ 1532 h 1725"/>
                <a:gd name="T64" fmla="*/ 1155 w 1841"/>
                <a:gd name="T65" fmla="*/ 1562 h 1725"/>
                <a:gd name="T66" fmla="*/ 1140 w 1841"/>
                <a:gd name="T67" fmla="*/ 1575 h 1725"/>
                <a:gd name="T68" fmla="*/ 990 w 1841"/>
                <a:gd name="T69" fmla="*/ 1424 h 1725"/>
                <a:gd name="T70" fmla="*/ 1006 w 1841"/>
                <a:gd name="T71" fmla="*/ 1411 h 1725"/>
                <a:gd name="T72" fmla="*/ 1030 w 1841"/>
                <a:gd name="T73" fmla="*/ 1436 h 1725"/>
                <a:gd name="T74" fmla="*/ 1233 w 1841"/>
                <a:gd name="T75" fmla="*/ 1273 h 1725"/>
                <a:gd name="T76" fmla="*/ 1177 w 1841"/>
                <a:gd name="T77" fmla="*/ 1217 h 1725"/>
                <a:gd name="T78" fmla="*/ 1034 w 1841"/>
                <a:gd name="T79" fmla="*/ 1294 h 1725"/>
                <a:gd name="T80" fmla="*/ 1123 w 1841"/>
                <a:gd name="T81" fmla="*/ 1142 h 1725"/>
                <a:gd name="T82" fmla="*/ 1073 w 1841"/>
                <a:gd name="T83" fmla="*/ 1153 h 1725"/>
                <a:gd name="T84" fmla="*/ 860 w 1841"/>
                <a:gd name="T85" fmla="*/ 1118 h 1725"/>
                <a:gd name="T86" fmla="*/ 954 w 1841"/>
                <a:gd name="T87" fmla="*/ 991 h 1725"/>
                <a:gd name="T88" fmla="*/ 340 w 1841"/>
                <a:gd name="T89" fmla="*/ 371 h 1725"/>
                <a:gd name="T90" fmla="*/ 130 w 1841"/>
                <a:gd name="T91" fmla="*/ 526 h 1725"/>
                <a:gd name="T92" fmla="*/ 168 w 1841"/>
                <a:gd name="T93" fmla="*/ 566 h 1725"/>
                <a:gd name="T94" fmla="*/ 150 w 1841"/>
                <a:gd name="T95" fmla="*/ 579 h 1725"/>
                <a:gd name="T96" fmla="*/ 0 w 1841"/>
                <a:gd name="T97" fmla="*/ 427 h 17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841" h="1725">
                  <a:moveTo>
                    <a:pt x="0" y="427"/>
                  </a:moveTo>
                  <a:lnTo>
                    <a:pt x="18" y="415"/>
                  </a:lnTo>
                  <a:lnTo>
                    <a:pt x="41" y="437"/>
                  </a:lnTo>
                  <a:lnTo>
                    <a:pt x="290" y="254"/>
                  </a:lnTo>
                  <a:lnTo>
                    <a:pt x="351" y="315"/>
                  </a:lnTo>
                  <a:lnTo>
                    <a:pt x="434" y="297"/>
                  </a:lnTo>
                  <a:lnTo>
                    <a:pt x="457" y="280"/>
                  </a:lnTo>
                  <a:lnTo>
                    <a:pt x="428" y="250"/>
                  </a:lnTo>
                  <a:lnTo>
                    <a:pt x="504" y="195"/>
                  </a:lnTo>
                  <a:lnTo>
                    <a:pt x="477" y="168"/>
                  </a:lnTo>
                  <a:lnTo>
                    <a:pt x="650" y="40"/>
                  </a:lnTo>
                  <a:lnTo>
                    <a:pt x="621" y="12"/>
                  </a:lnTo>
                  <a:lnTo>
                    <a:pt x="636" y="0"/>
                  </a:lnTo>
                  <a:lnTo>
                    <a:pt x="783" y="148"/>
                  </a:lnTo>
                  <a:lnTo>
                    <a:pt x="768" y="160"/>
                  </a:lnTo>
                  <a:lnTo>
                    <a:pt x="738" y="130"/>
                  </a:lnTo>
                  <a:lnTo>
                    <a:pt x="569" y="256"/>
                  </a:lnTo>
                  <a:lnTo>
                    <a:pt x="563" y="300"/>
                  </a:lnTo>
                  <a:lnTo>
                    <a:pt x="1436" y="1183"/>
                  </a:lnTo>
                  <a:lnTo>
                    <a:pt x="1442" y="1133"/>
                  </a:lnTo>
                  <a:lnTo>
                    <a:pt x="1595" y="1010"/>
                  </a:lnTo>
                  <a:lnTo>
                    <a:pt x="1578" y="993"/>
                  </a:lnTo>
                  <a:lnTo>
                    <a:pt x="1591" y="982"/>
                  </a:lnTo>
                  <a:lnTo>
                    <a:pt x="1738" y="1129"/>
                  </a:lnTo>
                  <a:lnTo>
                    <a:pt x="1725" y="1140"/>
                  </a:lnTo>
                  <a:lnTo>
                    <a:pt x="1675" y="1091"/>
                  </a:lnTo>
                  <a:lnTo>
                    <a:pt x="1517" y="1219"/>
                  </a:lnTo>
                  <a:lnTo>
                    <a:pt x="1527" y="1264"/>
                  </a:lnTo>
                  <a:lnTo>
                    <a:pt x="1841" y="1582"/>
                  </a:lnTo>
                  <a:lnTo>
                    <a:pt x="1670" y="1725"/>
                  </a:lnTo>
                  <a:lnTo>
                    <a:pt x="1322" y="1373"/>
                  </a:lnTo>
                  <a:lnTo>
                    <a:pt x="1125" y="1532"/>
                  </a:lnTo>
                  <a:lnTo>
                    <a:pt x="1155" y="1562"/>
                  </a:lnTo>
                  <a:lnTo>
                    <a:pt x="1140" y="1575"/>
                  </a:lnTo>
                  <a:lnTo>
                    <a:pt x="990" y="1424"/>
                  </a:lnTo>
                  <a:lnTo>
                    <a:pt x="1006" y="1411"/>
                  </a:lnTo>
                  <a:lnTo>
                    <a:pt x="1030" y="1436"/>
                  </a:lnTo>
                  <a:lnTo>
                    <a:pt x="1233" y="1273"/>
                  </a:lnTo>
                  <a:lnTo>
                    <a:pt x="1177" y="1217"/>
                  </a:lnTo>
                  <a:lnTo>
                    <a:pt x="1034" y="1294"/>
                  </a:lnTo>
                  <a:lnTo>
                    <a:pt x="1123" y="1142"/>
                  </a:lnTo>
                  <a:lnTo>
                    <a:pt x="1073" y="1153"/>
                  </a:lnTo>
                  <a:lnTo>
                    <a:pt x="860" y="1118"/>
                  </a:lnTo>
                  <a:lnTo>
                    <a:pt x="954" y="991"/>
                  </a:lnTo>
                  <a:lnTo>
                    <a:pt x="340" y="371"/>
                  </a:lnTo>
                  <a:lnTo>
                    <a:pt x="130" y="526"/>
                  </a:lnTo>
                  <a:lnTo>
                    <a:pt x="168" y="566"/>
                  </a:lnTo>
                  <a:lnTo>
                    <a:pt x="150" y="579"/>
                  </a:lnTo>
                  <a:lnTo>
                    <a:pt x="0" y="42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4" name="Freeform 58">
              <a:extLst>
                <a:ext uri="{FF2B5EF4-FFF2-40B4-BE49-F238E27FC236}">
                  <a16:creationId xmlns:a16="http://schemas.microsoft.com/office/drawing/2014/main" id="{963D6B35-5FC2-488E-A65A-5D34E601AF1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5" y="2297"/>
              <a:ext cx="316" cy="302"/>
            </a:xfrm>
            <a:custGeom>
              <a:avLst/>
              <a:gdLst>
                <a:gd name="T0" fmla="*/ 0 w 918"/>
                <a:gd name="T1" fmla="*/ 200 h 875"/>
                <a:gd name="T2" fmla="*/ 63 w 918"/>
                <a:gd name="T3" fmla="*/ 132 h 875"/>
                <a:gd name="T4" fmla="*/ 153 w 918"/>
                <a:gd name="T5" fmla="*/ 223 h 875"/>
                <a:gd name="T6" fmla="*/ 236 w 918"/>
                <a:gd name="T7" fmla="*/ 133 h 875"/>
                <a:gd name="T8" fmla="*/ 225 w 918"/>
                <a:gd name="T9" fmla="*/ 122 h 875"/>
                <a:gd name="T10" fmla="*/ 272 w 918"/>
                <a:gd name="T11" fmla="*/ 70 h 875"/>
                <a:gd name="T12" fmla="*/ 281 w 918"/>
                <a:gd name="T13" fmla="*/ 79 h 875"/>
                <a:gd name="T14" fmla="*/ 352 w 918"/>
                <a:gd name="T15" fmla="*/ 0 h 875"/>
                <a:gd name="T16" fmla="*/ 399 w 918"/>
                <a:gd name="T17" fmla="*/ 0 h 875"/>
                <a:gd name="T18" fmla="*/ 408 w 918"/>
                <a:gd name="T19" fmla="*/ 28 h 875"/>
                <a:gd name="T20" fmla="*/ 433 w 918"/>
                <a:gd name="T21" fmla="*/ 32 h 875"/>
                <a:gd name="T22" fmla="*/ 425 w 918"/>
                <a:gd name="T23" fmla="*/ 77 h 875"/>
                <a:gd name="T24" fmla="*/ 497 w 918"/>
                <a:gd name="T25" fmla="*/ 63 h 875"/>
                <a:gd name="T26" fmla="*/ 500 w 918"/>
                <a:gd name="T27" fmla="*/ 92 h 875"/>
                <a:gd name="T28" fmla="*/ 534 w 918"/>
                <a:gd name="T29" fmla="*/ 91 h 875"/>
                <a:gd name="T30" fmla="*/ 545 w 918"/>
                <a:gd name="T31" fmla="*/ 133 h 875"/>
                <a:gd name="T32" fmla="*/ 511 w 918"/>
                <a:gd name="T33" fmla="*/ 172 h 875"/>
                <a:gd name="T34" fmla="*/ 522 w 918"/>
                <a:gd name="T35" fmla="*/ 186 h 875"/>
                <a:gd name="T36" fmla="*/ 508 w 918"/>
                <a:gd name="T37" fmla="*/ 202 h 875"/>
                <a:gd name="T38" fmla="*/ 591 w 918"/>
                <a:gd name="T39" fmla="*/ 286 h 875"/>
                <a:gd name="T40" fmla="*/ 590 w 918"/>
                <a:gd name="T41" fmla="*/ 322 h 875"/>
                <a:gd name="T42" fmla="*/ 635 w 918"/>
                <a:gd name="T43" fmla="*/ 271 h 875"/>
                <a:gd name="T44" fmla="*/ 674 w 918"/>
                <a:gd name="T45" fmla="*/ 273 h 875"/>
                <a:gd name="T46" fmla="*/ 692 w 918"/>
                <a:gd name="T47" fmla="*/ 317 h 875"/>
                <a:gd name="T48" fmla="*/ 711 w 918"/>
                <a:gd name="T49" fmla="*/ 312 h 875"/>
                <a:gd name="T50" fmla="*/ 713 w 918"/>
                <a:gd name="T51" fmla="*/ 390 h 875"/>
                <a:gd name="T52" fmla="*/ 723 w 918"/>
                <a:gd name="T53" fmla="*/ 401 h 875"/>
                <a:gd name="T54" fmla="*/ 760 w 918"/>
                <a:gd name="T55" fmla="*/ 359 h 875"/>
                <a:gd name="T56" fmla="*/ 787 w 918"/>
                <a:gd name="T57" fmla="*/ 358 h 875"/>
                <a:gd name="T58" fmla="*/ 793 w 918"/>
                <a:gd name="T59" fmla="*/ 393 h 875"/>
                <a:gd name="T60" fmla="*/ 836 w 918"/>
                <a:gd name="T61" fmla="*/ 393 h 875"/>
                <a:gd name="T62" fmla="*/ 845 w 918"/>
                <a:gd name="T63" fmla="*/ 437 h 875"/>
                <a:gd name="T64" fmla="*/ 832 w 918"/>
                <a:gd name="T65" fmla="*/ 487 h 875"/>
                <a:gd name="T66" fmla="*/ 918 w 918"/>
                <a:gd name="T67" fmla="*/ 575 h 875"/>
                <a:gd name="T68" fmla="*/ 659 w 918"/>
                <a:gd name="T69" fmla="*/ 875 h 875"/>
                <a:gd name="T70" fmla="*/ 577 w 918"/>
                <a:gd name="T71" fmla="*/ 796 h 875"/>
                <a:gd name="T72" fmla="*/ 481 w 918"/>
                <a:gd name="T73" fmla="*/ 800 h 875"/>
                <a:gd name="T74" fmla="*/ 482 w 918"/>
                <a:gd name="T75" fmla="*/ 764 h 875"/>
                <a:gd name="T76" fmla="*/ 444 w 918"/>
                <a:gd name="T77" fmla="*/ 747 h 875"/>
                <a:gd name="T78" fmla="*/ 433 w 918"/>
                <a:gd name="T79" fmla="*/ 716 h 875"/>
                <a:gd name="T80" fmla="*/ 450 w 918"/>
                <a:gd name="T81" fmla="*/ 696 h 875"/>
                <a:gd name="T82" fmla="*/ 383 w 918"/>
                <a:gd name="T83" fmla="*/ 686 h 875"/>
                <a:gd name="T84" fmla="*/ 375 w 918"/>
                <a:gd name="T85" fmla="*/ 643 h 875"/>
                <a:gd name="T86" fmla="*/ 351 w 918"/>
                <a:gd name="T87" fmla="*/ 637 h 875"/>
                <a:gd name="T88" fmla="*/ 343 w 918"/>
                <a:gd name="T89" fmla="*/ 599 h 875"/>
                <a:gd name="T90" fmla="*/ 360 w 918"/>
                <a:gd name="T91" fmla="*/ 580 h 875"/>
                <a:gd name="T92" fmla="*/ 361 w 918"/>
                <a:gd name="T93" fmla="*/ 552 h 875"/>
                <a:gd name="T94" fmla="*/ 293 w 918"/>
                <a:gd name="T95" fmla="*/ 484 h 875"/>
                <a:gd name="T96" fmla="*/ 255 w 918"/>
                <a:gd name="T97" fmla="*/ 462 h 875"/>
                <a:gd name="T98" fmla="*/ 226 w 918"/>
                <a:gd name="T99" fmla="*/ 494 h 875"/>
                <a:gd name="T100" fmla="*/ 210 w 918"/>
                <a:gd name="T101" fmla="*/ 478 h 875"/>
                <a:gd name="T102" fmla="*/ 189 w 918"/>
                <a:gd name="T103" fmla="*/ 490 h 875"/>
                <a:gd name="T104" fmla="*/ 183 w 918"/>
                <a:gd name="T105" fmla="*/ 449 h 875"/>
                <a:gd name="T106" fmla="*/ 155 w 918"/>
                <a:gd name="T107" fmla="*/ 452 h 875"/>
                <a:gd name="T108" fmla="*/ 157 w 918"/>
                <a:gd name="T109" fmla="*/ 421 h 875"/>
                <a:gd name="T110" fmla="*/ 144 w 918"/>
                <a:gd name="T111" fmla="*/ 410 h 875"/>
                <a:gd name="T112" fmla="*/ 145 w 918"/>
                <a:gd name="T113" fmla="*/ 382 h 875"/>
                <a:gd name="T114" fmla="*/ 97 w 918"/>
                <a:gd name="T115" fmla="*/ 399 h 875"/>
                <a:gd name="T116" fmla="*/ 95 w 918"/>
                <a:gd name="T117" fmla="*/ 354 h 875"/>
                <a:gd name="T118" fmla="*/ 76 w 918"/>
                <a:gd name="T119" fmla="*/ 359 h 875"/>
                <a:gd name="T120" fmla="*/ 69 w 918"/>
                <a:gd name="T121" fmla="*/ 314 h 875"/>
                <a:gd name="T122" fmla="*/ 89 w 918"/>
                <a:gd name="T123" fmla="*/ 292 h 875"/>
                <a:gd name="T124" fmla="*/ 0 w 918"/>
                <a:gd name="T125" fmla="*/ 200 h 8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18" h="875">
                  <a:moveTo>
                    <a:pt x="0" y="200"/>
                  </a:moveTo>
                  <a:lnTo>
                    <a:pt x="63" y="132"/>
                  </a:lnTo>
                  <a:lnTo>
                    <a:pt x="153" y="223"/>
                  </a:lnTo>
                  <a:lnTo>
                    <a:pt x="236" y="133"/>
                  </a:lnTo>
                  <a:lnTo>
                    <a:pt x="225" y="122"/>
                  </a:lnTo>
                  <a:lnTo>
                    <a:pt x="272" y="70"/>
                  </a:lnTo>
                  <a:lnTo>
                    <a:pt x="281" y="79"/>
                  </a:lnTo>
                  <a:lnTo>
                    <a:pt x="352" y="0"/>
                  </a:lnTo>
                  <a:lnTo>
                    <a:pt x="399" y="0"/>
                  </a:lnTo>
                  <a:lnTo>
                    <a:pt x="408" y="28"/>
                  </a:lnTo>
                  <a:lnTo>
                    <a:pt x="433" y="32"/>
                  </a:lnTo>
                  <a:lnTo>
                    <a:pt x="425" y="77"/>
                  </a:lnTo>
                  <a:lnTo>
                    <a:pt x="497" y="63"/>
                  </a:lnTo>
                  <a:lnTo>
                    <a:pt x="500" y="92"/>
                  </a:lnTo>
                  <a:lnTo>
                    <a:pt x="534" y="91"/>
                  </a:lnTo>
                  <a:lnTo>
                    <a:pt x="545" y="133"/>
                  </a:lnTo>
                  <a:lnTo>
                    <a:pt x="511" y="172"/>
                  </a:lnTo>
                  <a:lnTo>
                    <a:pt x="522" y="186"/>
                  </a:lnTo>
                  <a:lnTo>
                    <a:pt x="508" y="202"/>
                  </a:lnTo>
                  <a:lnTo>
                    <a:pt x="591" y="286"/>
                  </a:lnTo>
                  <a:lnTo>
                    <a:pt x="590" y="322"/>
                  </a:lnTo>
                  <a:lnTo>
                    <a:pt x="635" y="271"/>
                  </a:lnTo>
                  <a:lnTo>
                    <a:pt x="674" y="273"/>
                  </a:lnTo>
                  <a:lnTo>
                    <a:pt x="692" y="317"/>
                  </a:lnTo>
                  <a:lnTo>
                    <a:pt x="711" y="312"/>
                  </a:lnTo>
                  <a:lnTo>
                    <a:pt x="713" y="390"/>
                  </a:lnTo>
                  <a:lnTo>
                    <a:pt x="723" y="401"/>
                  </a:lnTo>
                  <a:lnTo>
                    <a:pt x="760" y="359"/>
                  </a:lnTo>
                  <a:lnTo>
                    <a:pt x="787" y="358"/>
                  </a:lnTo>
                  <a:lnTo>
                    <a:pt x="793" y="393"/>
                  </a:lnTo>
                  <a:lnTo>
                    <a:pt x="836" y="393"/>
                  </a:lnTo>
                  <a:lnTo>
                    <a:pt x="845" y="437"/>
                  </a:lnTo>
                  <a:lnTo>
                    <a:pt x="832" y="487"/>
                  </a:lnTo>
                  <a:lnTo>
                    <a:pt x="918" y="575"/>
                  </a:lnTo>
                  <a:lnTo>
                    <a:pt x="659" y="875"/>
                  </a:lnTo>
                  <a:lnTo>
                    <a:pt x="577" y="796"/>
                  </a:lnTo>
                  <a:lnTo>
                    <a:pt x="481" y="800"/>
                  </a:lnTo>
                  <a:lnTo>
                    <a:pt x="482" y="764"/>
                  </a:lnTo>
                  <a:lnTo>
                    <a:pt x="444" y="747"/>
                  </a:lnTo>
                  <a:lnTo>
                    <a:pt x="433" y="716"/>
                  </a:lnTo>
                  <a:lnTo>
                    <a:pt x="450" y="696"/>
                  </a:lnTo>
                  <a:lnTo>
                    <a:pt x="383" y="686"/>
                  </a:lnTo>
                  <a:lnTo>
                    <a:pt x="375" y="643"/>
                  </a:lnTo>
                  <a:lnTo>
                    <a:pt x="351" y="637"/>
                  </a:lnTo>
                  <a:lnTo>
                    <a:pt x="343" y="599"/>
                  </a:lnTo>
                  <a:lnTo>
                    <a:pt x="360" y="580"/>
                  </a:lnTo>
                  <a:lnTo>
                    <a:pt x="361" y="552"/>
                  </a:lnTo>
                  <a:lnTo>
                    <a:pt x="293" y="484"/>
                  </a:lnTo>
                  <a:lnTo>
                    <a:pt x="255" y="462"/>
                  </a:lnTo>
                  <a:lnTo>
                    <a:pt x="226" y="494"/>
                  </a:lnTo>
                  <a:lnTo>
                    <a:pt x="210" y="478"/>
                  </a:lnTo>
                  <a:lnTo>
                    <a:pt x="189" y="490"/>
                  </a:lnTo>
                  <a:lnTo>
                    <a:pt x="183" y="449"/>
                  </a:lnTo>
                  <a:lnTo>
                    <a:pt x="155" y="452"/>
                  </a:lnTo>
                  <a:lnTo>
                    <a:pt x="157" y="421"/>
                  </a:lnTo>
                  <a:lnTo>
                    <a:pt x="144" y="410"/>
                  </a:lnTo>
                  <a:lnTo>
                    <a:pt x="145" y="382"/>
                  </a:lnTo>
                  <a:lnTo>
                    <a:pt x="97" y="399"/>
                  </a:lnTo>
                  <a:lnTo>
                    <a:pt x="95" y="354"/>
                  </a:lnTo>
                  <a:lnTo>
                    <a:pt x="76" y="359"/>
                  </a:lnTo>
                  <a:lnTo>
                    <a:pt x="69" y="314"/>
                  </a:lnTo>
                  <a:lnTo>
                    <a:pt x="89" y="292"/>
                  </a:lnTo>
                  <a:lnTo>
                    <a:pt x="0" y="2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5" name="Freeform 59">
              <a:extLst>
                <a:ext uri="{FF2B5EF4-FFF2-40B4-BE49-F238E27FC236}">
                  <a16:creationId xmlns:a16="http://schemas.microsoft.com/office/drawing/2014/main" id="{A94180E4-4C37-4BDC-A62F-DAE29EAE3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0" y="2198"/>
              <a:ext cx="690" cy="777"/>
            </a:xfrm>
            <a:custGeom>
              <a:avLst/>
              <a:gdLst>
                <a:gd name="T0" fmla="*/ 2005 w 2005"/>
                <a:gd name="T1" fmla="*/ 272 h 2251"/>
                <a:gd name="T2" fmla="*/ 1746 w 2005"/>
                <a:gd name="T3" fmla="*/ 10 h 2251"/>
                <a:gd name="T4" fmla="*/ 1733 w 2005"/>
                <a:gd name="T5" fmla="*/ 23 h 2251"/>
                <a:gd name="T6" fmla="*/ 1709 w 2005"/>
                <a:gd name="T7" fmla="*/ 0 h 2251"/>
                <a:gd name="T8" fmla="*/ 1682 w 2005"/>
                <a:gd name="T9" fmla="*/ 54 h 2251"/>
                <a:gd name="T10" fmla="*/ 1742 w 2005"/>
                <a:gd name="T11" fmla="*/ 115 h 2251"/>
                <a:gd name="T12" fmla="*/ 1771 w 2005"/>
                <a:gd name="T13" fmla="*/ 61 h 2251"/>
                <a:gd name="T14" fmla="*/ 1802 w 2005"/>
                <a:gd name="T15" fmla="*/ 93 h 2251"/>
                <a:gd name="T16" fmla="*/ 1733 w 2005"/>
                <a:gd name="T17" fmla="*/ 206 h 2251"/>
                <a:gd name="T18" fmla="*/ 64 w 2005"/>
                <a:gd name="T19" fmla="*/ 1981 h 2251"/>
                <a:gd name="T20" fmla="*/ 0 w 2005"/>
                <a:gd name="T21" fmla="*/ 2251 h 2251"/>
                <a:gd name="T22" fmla="*/ 1820 w 2005"/>
                <a:gd name="T23" fmla="*/ 300 h 2251"/>
                <a:gd name="T24" fmla="*/ 1914 w 2005"/>
                <a:gd name="T25" fmla="*/ 246 h 2251"/>
                <a:gd name="T26" fmla="*/ 1904 w 2005"/>
                <a:gd name="T27" fmla="*/ 288 h 2251"/>
                <a:gd name="T28" fmla="*/ 1971 w 2005"/>
                <a:gd name="T29" fmla="*/ 356 h 2251"/>
                <a:gd name="T30" fmla="*/ 1993 w 2005"/>
                <a:gd name="T31" fmla="*/ 286 h 2251"/>
                <a:gd name="T32" fmla="*/ 2005 w 2005"/>
                <a:gd name="T33" fmla="*/ 272 h 2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005" h="2251">
                  <a:moveTo>
                    <a:pt x="2005" y="272"/>
                  </a:moveTo>
                  <a:lnTo>
                    <a:pt x="1746" y="10"/>
                  </a:lnTo>
                  <a:lnTo>
                    <a:pt x="1733" y="23"/>
                  </a:lnTo>
                  <a:lnTo>
                    <a:pt x="1709" y="0"/>
                  </a:lnTo>
                  <a:lnTo>
                    <a:pt x="1682" y="54"/>
                  </a:lnTo>
                  <a:lnTo>
                    <a:pt x="1742" y="115"/>
                  </a:lnTo>
                  <a:lnTo>
                    <a:pt x="1771" y="61"/>
                  </a:lnTo>
                  <a:lnTo>
                    <a:pt x="1802" y="93"/>
                  </a:lnTo>
                  <a:lnTo>
                    <a:pt x="1733" y="206"/>
                  </a:lnTo>
                  <a:lnTo>
                    <a:pt x="64" y="1981"/>
                  </a:lnTo>
                  <a:lnTo>
                    <a:pt x="0" y="2251"/>
                  </a:lnTo>
                  <a:lnTo>
                    <a:pt x="1820" y="300"/>
                  </a:lnTo>
                  <a:lnTo>
                    <a:pt x="1914" y="246"/>
                  </a:lnTo>
                  <a:lnTo>
                    <a:pt x="1904" y="288"/>
                  </a:lnTo>
                  <a:lnTo>
                    <a:pt x="1971" y="356"/>
                  </a:lnTo>
                  <a:lnTo>
                    <a:pt x="1993" y="286"/>
                  </a:lnTo>
                  <a:lnTo>
                    <a:pt x="2005" y="27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6" name="Freeform 60">
              <a:extLst>
                <a:ext uri="{FF2B5EF4-FFF2-40B4-BE49-F238E27FC236}">
                  <a16:creationId xmlns:a16="http://schemas.microsoft.com/office/drawing/2014/main" id="{C0468C6E-1592-4370-87DF-5E1A8038224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4" y="1542"/>
              <a:ext cx="751" cy="721"/>
            </a:xfrm>
            <a:custGeom>
              <a:avLst/>
              <a:gdLst>
                <a:gd name="T0" fmla="*/ 2181 w 2181"/>
                <a:gd name="T1" fmla="*/ 275 h 2091"/>
                <a:gd name="T2" fmla="*/ 1920 w 2181"/>
                <a:gd name="T3" fmla="*/ 11 h 2091"/>
                <a:gd name="T4" fmla="*/ 1906 w 2181"/>
                <a:gd name="T5" fmla="*/ 23 h 2091"/>
                <a:gd name="T6" fmla="*/ 1881 w 2181"/>
                <a:gd name="T7" fmla="*/ 0 h 2091"/>
                <a:gd name="T8" fmla="*/ 1851 w 2181"/>
                <a:gd name="T9" fmla="*/ 51 h 2091"/>
                <a:gd name="T10" fmla="*/ 1911 w 2181"/>
                <a:gd name="T11" fmla="*/ 112 h 2091"/>
                <a:gd name="T12" fmla="*/ 1943 w 2181"/>
                <a:gd name="T13" fmla="*/ 62 h 2091"/>
                <a:gd name="T14" fmla="*/ 1975 w 2181"/>
                <a:gd name="T15" fmla="*/ 93 h 2091"/>
                <a:gd name="T16" fmla="*/ 1898 w 2181"/>
                <a:gd name="T17" fmla="*/ 200 h 2091"/>
                <a:gd name="T18" fmla="*/ 78 w 2181"/>
                <a:gd name="T19" fmla="*/ 1834 h 2091"/>
                <a:gd name="T20" fmla="*/ 0 w 2181"/>
                <a:gd name="T21" fmla="*/ 2091 h 2091"/>
                <a:gd name="T22" fmla="*/ 1986 w 2181"/>
                <a:gd name="T23" fmla="*/ 294 h 2091"/>
                <a:gd name="T24" fmla="*/ 2086 w 2181"/>
                <a:gd name="T25" fmla="*/ 246 h 2091"/>
                <a:gd name="T26" fmla="*/ 2075 w 2181"/>
                <a:gd name="T27" fmla="*/ 286 h 2091"/>
                <a:gd name="T28" fmla="*/ 2142 w 2181"/>
                <a:gd name="T29" fmla="*/ 355 h 2091"/>
                <a:gd name="T30" fmla="*/ 2167 w 2181"/>
                <a:gd name="T31" fmla="*/ 288 h 2091"/>
                <a:gd name="T32" fmla="*/ 2181 w 2181"/>
                <a:gd name="T33" fmla="*/ 275 h 2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181" h="2091">
                  <a:moveTo>
                    <a:pt x="2181" y="275"/>
                  </a:moveTo>
                  <a:lnTo>
                    <a:pt x="1920" y="11"/>
                  </a:lnTo>
                  <a:lnTo>
                    <a:pt x="1906" y="23"/>
                  </a:lnTo>
                  <a:lnTo>
                    <a:pt x="1881" y="0"/>
                  </a:lnTo>
                  <a:lnTo>
                    <a:pt x="1851" y="51"/>
                  </a:lnTo>
                  <a:lnTo>
                    <a:pt x="1911" y="112"/>
                  </a:lnTo>
                  <a:lnTo>
                    <a:pt x="1943" y="62"/>
                  </a:lnTo>
                  <a:lnTo>
                    <a:pt x="1975" y="93"/>
                  </a:lnTo>
                  <a:lnTo>
                    <a:pt x="1898" y="200"/>
                  </a:lnTo>
                  <a:lnTo>
                    <a:pt x="78" y="1834"/>
                  </a:lnTo>
                  <a:lnTo>
                    <a:pt x="0" y="2091"/>
                  </a:lnTo>
                  <a:lnTo>
                    <a:pt x="1986" y="294"/>
                  </a:lnTo>
                  <a:lnTo>
                    <a:pt x="2086" y="246"/>
                  </a:lnTo>
                  <a:lnTo>
                    <a:pt x="2075" y="286"/>
                  </a:lnTo>
                  <a:lnTo>
                    <a:pt x="2142" y="355"/>
                  </a:lnTo>
                  <a:lnTo>
                    <a:pt x="2167" y="288"/>
                  </a:lnTo>
                  <a:lnTo>
                    <a:pt x="2181" y="27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7" name="Freeform 61">
              <a:extLst>
                <a:ext uri="{FF2B5EF4-FFF2-40B4-BE49-F238E27FC236}">
                  <a16:creationId xmlns:a16="http://schemas.microsoft.com/office/drawing/2014/main" id="{0DAEBBF7-B963-40EF-AA0E-F880AC1497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8" y="1408"/>
              <a:ext cx="933" cy="943"/>
            </a:xfrm>
            <a:custGeom>
              <a:avLst/>
              <a:gdLst>
                <a:gd name="T0" fmla="*/ 0 w 2708"/>
                <a:gd name="T1" fmla="*/ 131 h 2733"/>
                <a:gd name="T2" fmla="*/ 151 w 2708"/>
                <a:gd name="T3" fmla="*/ 0 h 2733"/>
                <a:gd name="T4" fmla="*/ 2708 w 2708"/>
                <a:gd name="T5" fmla="*/ 2586 h 2733"/>
                <a:gd name="T6" fmla="*/ 2574 w 2708"/>
                <a:gd name="T7" fmla="*/ 2733 h 2733"/>
                <a:gd name="T8" fmla="*/ 0 w 2708"/>
                <a:gd name="T9" fmla="*/ 131 h 2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08" h="2733">
                  <a:moveTo>
                    <a:pt x="0" y="131"/>
                  </a:moveTo>
                  <a:lnTo>
                    <a:pt x="151" y="0"/>
                  </a:lnTo>
                  <a:lnTo>
                    <a:pt x="2708" y="2586"/>
                  </a:lnTo>
                  <a:lnTo>
                    <a:pt x="2574" y="2733"/>
                  </a:lnTo>
                  <a:lnTo>
                    <a:pt x="0" y="13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8" name="Freeform 62">
              <a:extLst>
                <a:ext uri="{FF2B5EF4-FFF2-40B4-BE49-F238E27FC236}">
                  <a16:creationId xmlns:a16="http://schemas.microsoft.com/office/drawing/2014/main" id="{A8118D24-C4DC-4773-BDEE-9587599377B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7" y="1768"/>
              <a:ext cx="306" cy="360"/>
            </a:xfrm>
            <a:custGeom>
              <a:avLst/>
              <a:gdLst>
                <a:gd name="T0" fmla="*/ 886 w 886"/>
                <a:gd name="T1" fmla="*/ 898 h 1042"/>
                <a:gd name="T2" fmla="*/ 811 w 886"/>
                <a:gd name="T3" fmla="*/ 975 h 1042"/>
                <a:gd name="T4" fmla="*/ 821 w 886"/>
                <a:gd name="T5" fmla="*/ 986 h 1042"/>
                <a:gd name="T6" fmla="*/ 766 w 886"/>
                <a:gd name="T7" fmla="*/ 1042 h 1042"/>
                <a:gd name="T8" fmla="*/ 749 w 886"/>
                <a:gd name="T9" fmla="*/ 1024 h 1042"/>
                <a:gd name="T10" fmla="*/ 767 w 886"/>
                <a:gd name="T11" fmla="*/ 1006 h 1042"/>
                <a:gd name="T12" fmla="*/ 160 w 886"/>
                <a:gd name="T13" fmla="*/ 393 h 1042"/>
                <a:gd name="T14" fmla="*/ 28 w 886"/>
                <a:gd name="T15" fmla="*/ 259 h 1042"/>
                <a:gd name="T16" fmla="*/ 0 w 886"/>
                <a:gd name="T17" fmla="*/ 0 h 1042"/>
                <a:gd name="T18" fmla="*/ 886 w 886"/>
                <a:gd name="T19" fmla="*/ 898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6" h="1042">
                  <a:moveTo>
                    <a:pt x="886" y="898"/>
                  </a:moveTo>
                  <a:lnTo>
                    <a:pt x="811" y="975"/>
                  </a:lnTo>
                  <a:lnTo>
                    <a:pt x="821" y="986"/>
                  </a:lnTo>
                  <a:lnTo>
                    <a:pt x="766" y="1042"/>
                  </a:lnTo>
                  <a:lnTo>
                    <a:pt x="749" y="1024"/>
                  </a:lnTo>
                  <a:lnTo>
                    <a:pt x="767" y="1006"/>
                  </a:lnTo>
                  <a:lnTo>
                    <a:pt x="160" y="393"/>
                  </a:lnTo>
                  <a:lnTo>
                    <a:pt x="28" y="259"/>
                  </a:lnTo>
                  <a:lnTo>
                    <a:pt x="0" y="0"/>
                  </a:lnTo>
                  <a:lnTo>
                    <a:pt x="886" y="89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9" name="Freeform 63">
              <a:extLst>
                <a:ext uri="{FF2B5EF4-FFF2-40B4-BE49-F238E27FC236}">
                  <a16:creationId xmlns:a16="http://schemas.microsoft.com/office/drawing/2014/main" id="{5567216D-6E15-4406-A721-240A2EA734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5" y="1893"/>
              <a:ext cx="1209" cy="1141"/>
            </a:xfrm>
            <a:custGeom>
              <a:avLst/>
              <a:gdLst>
                <a:gd name="T0" fmla="*/ 3035 w 3511"/>
                <a:gd name="T1" fmla="*/ 153 h 3307"/>
                <a:gd name="T2" fmla="*/ 2827 w 3511"/>
                <a:gd name="T3" fmla="*/ 193 h 3307"/>
                <a:gd name="T4" fmla="*/ 2778 w 3511"/>
                <a:gd name="T5" fmla="*/ 272 h 3307"/>
                <a:gd name="T6" fmla="*/ 2566 w 3511"/>
                <a:gd name="T7" fmla="*/ 63 h 3307"/>
                <a:gd name="T8" fmla="*/ 2745 w 3511"/>
                <a:gd name="T9" fmla="*/ 297 h 3307"/>
                <a:gd name="T10" fmla="*/ 2572 w 3511"/>
                <a:gd name="T11" fmla="*/ 644 h 3307"/>
                <a:gd name="T12" fmla="*/ 2246 w 3511"/>
                <a:gd name="T13" fmla="*/ 925 h 3307"/>
                <a:gd name="T14" fmla="*/ 1992 w 3511"/>
                <a:gd name="T15" fmla="*/ 1134 h 3307"/>
                <a:gd name="T16" fmla="*/ 1866 w 3511"/>
                <a:gd name="T17" fmla="*/ 1233 h 3307"/>
                <a:gd name="T18" fmla="*/ 1715 w 3511"/>
                <a:gd name="T19" fmla="*/ 1385 h 3307"/>
                <a:gd name="T20" fmla="*/ 1536 w 3511"/>
                <a:gd name="T21" fmla="*/ 1503 h 3307"/>
                <a:gd name="T22" fmla="*/ 1335 w 3511"/>
                <a:gd name="T23" fmla="*/ 1691 h 3307"/>
                <a:gd name="T24" fmla="*/ 1275 w 3511"/>
                <a:gd name="T25" fmla="*/ 1758 h 3307"/>
                <a:gd name="T26" fmla="*/ 1181 w 3511"/>
                <a:gd name="T27" fmla="*/ 1928 h 3307"/>
                <a:gd name="T28" fmla="*/ 995 w 3511"/>
                <a:gd name="T29" fmla="*/ 2030 h 3307"/>
                <a:gd name="T30" fmla="*/ 935 w 3511"/>
                <a:gd name="T31" fmla="*/ 2085 h 3307"/>
                <a:gd name="T32" fmla="*/ 867 w 3511"/>
                <a:gd name="T33" fmla="*/ 2223 h 3307"/>
                <a:gd name="T34" fmla="*/ 291 w 3511"/>
                <a:gd name="T35" fmla="*/ 2834 h 3307"/>
                <a:gd name="T36" fmla="*/ 378 w 3511"/>
                <a:gd name="T37" fmla="*/ 3090 h 3307"/>
                <a:gd name="T38" fmla="*/ 490 w 3511"/>
                <a:gd name="T39" fmla="*/ 3254 h 3307"/>
                <a:gd name="T40" fmla="*/ 453 w 3511"/>
                <a:gd name="T41" fmla="*/ 3128 h 3307"/>
                <a:gd name="T42" fmla="*/ 391 w 3511"/>
                <a:gd name="T43" fmla="*/ 2931 h 3307"/>
                <a:gd name="T44" fmla="*/ 1014 w 3511"/>
                <a:gd name="T45" fmla="*/ 2580 h 3307"/>
                <a:gd name="T46" fmla="*/ 1233 w 3511"/>
                <a:gd name="T47" fmla="*/ 2355 h 3307"/>
                <a:gd name="T48" fmla="*/ 2175 w 3511"/>
                <a:gd name="T49" fmla="*/ 3214 h 3307"/>
                <a:gd name="T50" fmla="*/ 1212 w 3511"/>
                <a:gd name="T51" fmla="*/ 2298 h 3307"/>
                <a:gd name="T52" fmla="*/ 1400 w 3511"/>
                <a:gd name="T53" fmla="*/ 2184 h 3307"/>
                <a:gd name="T54" fmla="*/ 1461 w 3511"/>
                <a:gd name="T55" fmla="*/ 2490 h 3307"/>
                <a:gd name="T56" fmla="*/ 1735 w 3511"/>
                <a:gd name="T57" fmla="*/ 2220 h 3307"/>
                <a:gd name="T58" fmla="*/ 1696 w 3511"/>
                <a:gd name="T59" fmla="*/ 1886 h 3307"/>
                <a:gd name="T60" fmla="*/ 2517 w 3511"/>
                <a:gd name="T61" fmla="*/ 1677 h 3307"/>
                <a:gd name="T62" fmla="*/ 1956 w 3511"/>
                <a:gd name="T63" fmla="*/ 1618 h 3307"/>
                <a:gd name="T64" fmla="*/ 2154 w 3511"/>
                <a:gd name="T65" fmla="*/ 1372 h 3307"/>
                <a:gd name="T66" fmla="*/ 2407 w 3511"/>
                <a:gd name="T67" fmla="*/ 1133 h 3307"/>
                <a:gd name="T68" fmla="*/ 2609 w 3511"/>
                <a:gd name="T69" fmla="*/ 982 h 3307"/>
                <a:gd name="T70" fmla="*/ 2821 w 3511"/>
                <a:gd name="T71" fmla="*/ 678 h 3307"/>
                <a:gd name="T72" fmla="*/ 3012 w 3511"/>
                <a:gd name="T73" fmla="*/ 633 h 3307"/>
                <a:gd name="T74" fmla="*/ 3039 w 3511"/>
                <a:gd name="T75" fmla="*/ 862 h 3307"/>
                <a:gd name="T76" fmla="*/ 3386 w 3511"/>
                <a:gd name="T77" fmla="*/ 939 h 3307"/>
                <a:gd name="T78" fmla="*/ 3492 w 3511"/>
                <a:gd name="T79" fmla="*/ 778 h 3307"/>
                <a:gd name="T80" fmla="*/ 3439 w 3511"/>
                <a:gd name="T81" fmla="*/ 704 h 3307"/>
                <a:gd name="T82" fmla="*/ 3354 w 3511"/>
                <a:gd name="T83" fmla="*/ 573 h 3307"/>
                <a:gd name="T84" fmla="*/ 3445 w 3511"/>
                <a:gd name="T85" fmla="*/ 506 h 3307"/>
                <a:gd name="T86" fmla="*/ 3345 w 3511"/>
                <a:gd name="T87" fmla="*/ 371 h 3307"/>
                <a:gd name="T88" fmla="*/ 3216 w 3511"/>
                <a:gd name="T89" fmla="*/ 404 h 3307"/>
                <a:gd name="T90" fmla="*/ 3010 w 3511"/>
                <a:gd name="T91" fmla="*/ 34 h 3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511" h="3307">
                  <a:moveTo>
                    <a:pt x="3001" y="72"/>
                  </a:moveTo>
                  <a:lnTo>
                    <a:pt x="3052" y="136"/>
                  </a:lnTo>
                  <a:lnTo>
                    <a:pt x="3035" y="153"/>
                  </a:lnTo>
                  <a:lnTo>
                    <a:pt x="2947" y="111"/>
                  </a:lnTo>
                  <a:lnTo>
                    <a:pt x="2844" y="210"/>
                  </a:lnTo>
                  <a:lnTo>
                    <a:pt x="2827" y="193"/>
                  </a:lnTo>
                  <a:lnTo>
                    <a:pt x="2774" y="244"/>
                  </a:lnTo>
                  <a:lnTo>
                    <a:pt x="2791" y="260"/>
                  </a:lnTo>
                  <a:lnTo>
                    <a:pt x="2778" y="272"/>
                  </a:lnTo>
                  <a:lnTo>
                    <a:pt x="2707" y="200"/>
                  </a:lnTo>
                  <a:cubicBezTo>
                    <a:pt x="2707" y="200"/>
                    <a:pt x="2768" y="116"/>
                    <a:pt x="2711" y="58"/>
                  </a:cubicBezTo>
                  <a:cubicBezTo>
                    <a:pt x="2654" y="0"/>
                    <a:pt x="2595" y="36"/>
                    <a:pt x="2566" y="63"/>
                  </a:cubicBezTo>
                  <a:cubicBezTo>
                    <a:pt x="2537" y="90"/>
                    <a:pt x="2500" y="159"/>
                    <a:pt x="2554" y="214"/>
                  </a:cubicBezTo>
                  <a:cubicBezTo>
                    <a:pt x="2608" y="269"/>
                    <a:pt x="2671" y="223"/>
                    <a:pt x="2671" y="223"/>
                  </a:cubicBezTo>
                  <a:lnTo>
                    <a:pt x="2745" y="297"/>
                  </a:lnTo>
                  <a:lnTo>
                    <a:pt x="2602" y="436"/>
                  </a:lnTo>
                  <a:lnTo>
                    <a:pt x="2650" y="538"/>
                  </a:lnTo>
                  <a:lnTo>
                    <a:pt x="2572" y="644"/>
                  </a:lnTo>
                  <a:cubicBezTo>
                    <a:pt x="2572" y="644"/>
                    <a:pt x="2434" y="642"/>
                    <a:pt x="2347" y="727"/>
                  </a:cubicBezTo>
                  <a:cubicBezTo>
                    <a:pt x="2260" y="811"/>
                    <a:pt x="2278" y="893"/>
                    <a:pt x="2278" y="893"/>
                  </a:cubicBezTo>
                  <a:lnTo>
                    <a:pt x="2246" y="925"/>
                  </a:lnTo>
                  <a:lnTo>
                    <a:pt x="2195" y="920"/>
                  </a:lnTo>
                  <a:lnTo>
                    <a:pt x="1983" y="1126"/>
                  </a:lnTo>
                  <a:lnTo>
                    <a:pt x="1992" y="1134"/>
                  </a:lnTo>
                  <a:lnTo>
                    <a:pt x="1961" y="1164"/>
                  </a:lnTo>
                  <a:lnTo>
                    <a:pt x="1950" y="1152"/>
                  </a:lnTo>
                  <a:lnTo>
                    <a:pt x="1866" y="1233"/>
                  </a:lnTo>
                  <a:lnTo>
                    <a:pt x="1845" y="1211"/>
                  </a:lnTo>
                  <a:lnTo>
                    <a:pt x="1691" y="1361"/>
                  </a:lnTo>
                  <a:lnTo>
                    <a:pt x="1715" y="1385"/>
                  </a:lnTo>
                  <a:lnTo>
                    <a:pt x="1654" y="1444"/>
                  </a:lnTo>
                  <a:lnTo>
                    <a:pt x="1569" y="1471"/>
                  </a:lnTo>
                  <a:lnTo>
                    <a:pt x="1536" y="1503"/>
                  </a:lnTo>
                  <a:lnTo>
                    <a:pt x="1533" y="1580"/>
                  </a:lnTo>
                  <a:cubicBezTo>
                    <a:pt x="1533" y="1580"/>
                    <a:pt x="1484" y="1551"/>
                    <a:pt x="1395" y="1638"/>
                  </a:cubicBezTo>
                  <a:cubicBezTo>
                    <a:pt x="1305" y="1725"/>
                    <a:pt x="1335" y="1691"/>
                    <a:pt x="1335" y="1691"/>
                  </a:cubicBezTo>
                  <a:lnTo>
                    <a:pt x="1157" y="1512"/>
                  </a:lnTo>
                  <a:lnTo>
                    <a:pt x="1092" y="1574"/>
                  </a:lnTo>
                  <a:lnTo>
                    <a:pt x="1275" y="1758"/>
                  </a:lnTo>
                  <a:lnTo>
                    <a:pt x="1255" y="1798"/>
                  </a:lnTo>
                  <a:lnTo>
                    <a:pt x="1238" y="1909"/>
                  </a:lnTo>
                  <a:lnTo>
                    <a:pt x="1181" y="1928"/>
                  </a:lnTo>
                  <a:lnTo>
                    <a:pt x="1014" y="2090"/>
                  </a:lnTo>
                  <a:lnTo>
                    <a:pt x="975" y="2050"/>
                  </a:lnTo>
                  <a:lnTo>
                    <a:pt x="995" y="2030"/>
                  </a:lnTo>
                  <a:lnTo>
                    <a:pt x="91" y="1124"/>
                  </a:lnTo>
                  <a:lnTo>
                    <a:pt x="0" y="1147"/>
                  </a:lnTo>
                  <a:lnTo>
                    <a:pt x="935" y="2085"/>
                  </a:lnTo>
                  <a:lnTo>
                    <a:pt x="954" y="2070"/>
                  </a:lnTo>
                  <a:lnTo>
                    <a:pt x="989" y="2105"/>
                  </a:lnTo>
                  <a:lnTo>
                    <a:pt x="867" y="2223"/>
                  </a:lnTo>
                  <a:lnTo>
                    <a:pt x="718" y="2281"/>
                  </a:lnTo>
                  <a:lnTo>
                    <a:pt x="255" y="2730"/>
                  </a:lnTo>
                  <a:cubicBezTo>
                    <a:pt x="255" y="2730"/>
                    <a:pt x="266" y="2810"/>
                    <a:pt x="291" y="2834"/>
                  </a:cubicBezTo>
                  <a:lnTo>
                    <a:pt x="350" y="2893"/>
                  </a:lnTo>
                  <a:lnTo>
                    <a:pt x="308" y="2976"/>
                  </a:lnTo>
                  <a:lnTo>
                    <a:pt x="378" y="3090"/>
                  </a:lnTo>
                  <a:lnTo>
                    <a:pt x="429" y="3153"/>
                  </a:lnTo>
                  <a:lnTo>
                    <a:pt x="424" y="3188"/>
                  </a:lnTo>
                  <a:lnTo>
                    <a:pt x="490" y="3254"/>
                  </a:lnTo>
                  <a:lnTo>
                    <a:pt x="559" y="3185"/>
                  </a:lnTo>
                  <a:lnTo>
                    <a:pt x="503" y="3128"/>
                  </a:lnTo>
                  <a:lnTo>
                    <a:pt x="453" y="3128"/>
                  </a:lnTo>
                  <a:lnTo>
                    <a:pt x="406" y="3065"/>
                  </a:lnTo>
                  <a:lnTo>
                    <a:pt x="351" y="2963"/>
                  </a:lnTo>
                  <a:lnTo>
                    <a:pt x="391" y="2931"/>
                  </a:lnTo>
                  <a:cubicBezTo>
                    <a:pt x="391" y="2931"/>
                    <a:pt x="480" y="3017"/>
                    <a:pt x="509" y="3023"/>
                  </a:cubicBezTo>
                  <a:cubicBezTo>
                    <a:pt x="536" y="3028"/>
                    <a:pt x="563" y="3028"/>
                    <a:pt x="563" y="3028"/>
                  </a:cubicBezTo>
                  <a:lnTo>
                    <a:pt x="1014" y="2580"/>
                  </a:lnTo>
                  <a:lnTo>
                    <a:pt x="1058" y="2421"/>
                  </a:lnTo>
                  <a:lnTo>
                    <a:pt x="1179" y="2301"/>
                  </a:lnTo>
                  <a:lnTo>
                    <a:pt x="1233" y="2355"/>
                  </a:lnTo>
                  <a:lnTo>
                    <a:pt x="1217" y="2371"/>
                  </a:lnTo>
                  <a:lnTo>
                    <a:pt x="2150" y="3307"/>
                  </a:lnTo>
                  <a:lnTo>
                    <a:pt x="2175" y="3214"/>
                  </a:lnTo>
                  <a:lnTo>
                    <a:pt x="1278" y="2314"/>
                  </a:lnTo>
                  <a:lnTo>
                    <a:pt x="1254" y="2339"/>
                  </a:lnTo>
                  <a:lnTo>
                    <a:pt x="1212" y="2298"/>
                  </a:lnTo>
                  <a:lnTo>
                    <a:pt x="1365" y="2147"/>
                  </a:lnTo>
                  <a:lnTo>
                    <a:pt x="1362" y="2177"/>
                  </a:lnTo>
                  <a:lnTo>
                    <a:pt x="1400" y="2184"/>
                  </a:lnTo>
                  <a:lnTo>
                    <a:pt x="1450" y="2067"/>
                  </a:lnTo>
                  <a:lnTo>
                    <a:pt x="1506" y="2055"/>
                  </a:lnTo>
                  <a:lnTo>
                    <a:pt x="1461" y="2490"/>
                  </a:lnTo>
                  <a:lnTo>
                    <a:pt x="1491" y="2514"/>
                  </a:lnTo>
                  <a:lnTo>
                    <a:pt x="1546" y="2036"/>
                  </a:lnTo>
                  <a:lnTo>
                    <a:pt x="1735" y="2220"/>
                  </a:lnTo>
                  <a:lnTo>
                    <a:pt x="1783" y="2172"/>
                  </a:lnTo>
                  <a:lnTo>
                    <a:pt x="1601" y="1989"/>
                  </a:lnTo>
                  <a:cubicBezTo>
                    <a:pt x="1601" y="1989"/>
                    <a:pt x="1689" y="1930"/>
                    <a:pt x="1696" y="1886"/>
                  </a:cubicBezTo>
                  <a:cubicBezTo>
                    <a:pt x="1703" y="1842"/>
                    <a:pt x="1722" y="1784"/>
                    <a:pt x="1722" y="1784"/>
                  </a:cubicBezTo>
                  <a:lnTo>
                    <a:pt x="2495" y="1719"/>
                  </a:lnTo>
                  <a:lnTo>
                    <a:pt x="2517" y="1677"/>
                  </a:lnTo>
                  <a:lnTo>
                    <a:pt x="1852" y="1744"/>
                  </a:lnTo>
                  <a:lnTo>
                    <a:pt x="1929" y="1592"/>
                  </a:lnTo>
                  <a:lnTo>
                    <a:pt x="1956" y="1618"/>
                  </a:lnTo>
                  <a:lnTo>
                    <a:pt x="2098" y="1477"/>
                  </a:lnTo>
                  <a:lnTo>
                    <a:pt x="2073" y="1452"/>
                  </a:lnTo>
                  <a:lnTo>
                    <a:pt x="2154" y="1372"/>
                  </a:lnTo>
                  <a:lnTo>
                    <a:pt x="2178" y="1333"/>
                  </a:lnTo>
                  <a:lnTo>
                    <a:pt x="2192" y="1347"/>
                  </a:lnTo>
                  <a:lnTo>
                    <a:pt x="2407" y="1133"/>
                  </a:lnTo>
                  <a:lnTo>
                    <a:pt x="2413" y="1068"/>
                  </a:lnTo>
                  <a:lnTo>
                    <a:pt x="2435" y="1046"/>
                  </a:lnTo>
                  <a:cubicBezTo>
                    <a:pt x="2435" y="1046"/>
                    <a:pt x="2538" y="1053"/>
                    <a:pt x="2609" y="982"/>
                  </a:cubicBezTo>
                  <a:cubicBezTo>
                    <a:pt x="2704" y="888"/>
                    <a:pt x="2684" y="763"/>
                    <a:pt x="2684" y="763"/>
                  </a:cubicBezTo>
                  <a:lnTo>
                    <a:pt x="2709" y="739"/>
                  </a:lnTo>
                  <a:lnTo>
                    <a:pt x="2821" y="678"/>
                  </a:lnTo>
                  <a:lnTo>
                    <a:pt x="2881" y="738"/>
                  </a:lnTo>
                  <a:lnTo>
                    <a:pt x="2988" y="639"/>
                  </a:lnTo>
                  <a:lnTo>
                    <a:pt x="3012" y="633"/>
                  </a:lnTo>
                  <a:lnTo>
                    <a:pt x="2990" y="676"/>
                  </a:lnTo>
                  <a:lnTo>
                    <a:pt x="2920" y="746"/>
                  </a:lnTo>
                  <a:lnTo>
                    <a:pt x="3039" y="862"/>
                  </a:lnTo>
                  <a:lnTo>
                    <a:pt x="3166" y="776"/>
                  </a:lnTo>
                  <a:lnTo>
                    <a:pt x="3215" y="769"/>
                  </a:lnTo>
                  <a:lnTo>
                    <a:pt x="3386" y="939"/>
                  </a:lnTo>
                  <a:cubicBezTo>
                    <a:pt x="3386" y="939"/>
                    <a:pt x="3416" y="913"/>
                    <a:pt x="3454" y="874"/>
                  </a:cubicBezTo>
                  <a:cubicBezTo>
                    <a:pt x="3492" y="836"/>
                    <a:pt x="3511" y="805"/>
                    <a:pt x="3511" y="805"/>
                  </a:cubicBezTo>
                  <a:lnTo>
                    <a:pt x="3492" y="778"/>
                  </a:lnTo>
                  <a:lnTo>
                    <a:pt x="3510" y="732"/>
                  </a:lnTo>
                  <a:lnTo>
                    <a:pt x="3460" y="682"/>
                  </a:lnTo>
                  <a:lnTo>
                    <a:pt x="3439" y="704"/>
                  </a:lnTo>
                  <a:lnTo>
                    <a:pt x="3427" y="691"/>
                  </a:lnTo>
                  <a:lnTo>
                    <a:pt x="3449" y="668"/>
                  </a:lnTo>
                  <a:lnTo>
                    <a:pt x="3354" y="573"/>
                  </a:lnTo>
                  <a:lnTo>
                    <a:pt x="3410" y="492"/>
                  </a:lnTo>
                  <a:lnTo>
                    <a:pt x="3435" y="517"/>
                  </a:lnTo>
                  <a:lnTo>
                    <a:pt x="3445" y="506"/>
                  </a:lnTo>
                  <a:lnTo>
                    <a:pt x="3345" y="406"/>
                  </a:lnTo>
                  <a:lnTo>
                    <a:pt x="3362" y="389"/>
                  </a:lnTo>
                  <a:lnTo>
                    <a:pt x="3345" y="371"/>
                  </a:lnTo>
                  <a:lnTo>
                    <a:pt x="3294" y="380"/>
                  </a:lnTo>
                  <a:lnTo>
                    <a:pt x="3174" y="454"/>
                  </a:lnTo>
                  <a:lnTo>
                    <a:pt x="3216" y="404"/>
                  </a:lnTo>
                  <a:lnTo>
                    <a:pt x="3196" y="289"/>
                  </a:lnTo>
                  <a:lnTo>
                    <a:pt x="3301" y="328"/>
                  </a:lnTo>
                  <a:lnTo>
                    <a:pt x="3010" y="34"/>
                  </a:lnTo>
                  <a:lnTo>
                    <a:pt x="3001" y="7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0" name="Freeform 64">
              <a:extLst>
                <a:ext uri="{FF2B5EF4-FFF2-40B4-BE49-F238E27FC236}">
                  <a16:creationId xmlns:a16="http://schemas.microsoft.com/office/drawing/2014/main" id="{F8180D07-0389-4746-A354-FB7EF09364D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6" y="1885"/>
              <a:ext cx="582" cy="586"/>
            </a:xfrm>
            <a:custGeom>
              <a:avLst/>
              <a:gdLst>
                <a:gd name="T0" fmla="*/ 1690 w 1690"/>
                <a:gd name="T1" fmla="*/ 1433 h 1698"/>
                <a:gd name="T2" fmla="*/ 1162 w 1690"/>
                <a:gd name="T3" fmla="*/ 901 h 1698"/>
                <a:gd name="T4" fmla="*/ 1107 w 1690"/>
                <a:gd name="T5" fmla="*/ 957 h 1698"/>
                <a:gd name="T6" fmla="*/ 743 w 1690"/>
                <a:gd name="T7" fmla="*/ 591 h 1698"/>
                <a:gd name="T8" fmla="*/ 802 w 1690"/>
                <a:gd name="T9" fmla="*/ 534 h 1698"/>
                <a:gd name="T10" fmla="*/ 272 w 1690"/>
                <a:gd name="T11" fmla="*/ 0 h 1698"/>
                <a:gd name="T12" fmla="*/ 0 w 1690"/>
                <a:gd name="T13" fmla="*/ 251 h 1698"/>
                <a:gd name="T14" fmla="*/ 535 w 1690"/>
                <a:gd name="T15" fmla="*/ 790 h 1698"/>
                <a:gd name="T16" fmla="*/ 602 w 1690"/>
                <a:gd name="T17" fmla="*/ 725 h 1698"/>
                <a:gd name="T18" fmla="*/ 971 w 1690"/>
                <a:gd name="T19" fmla="*/ 1097 h 1698"/>
                <a:gd name="T20" fmla="*/ 905 w 1690"/>
                <a:gd name="T21" fmla="*/ 1163 h 1698"/>
                <a:gd name="T22" fmla="*/ 1435 w 1690"/>
                <a:gd name="T23" fmla="*/ 1698 h 1698"/>
                <a:gd name="T24" fmla="*/ 1690 w 1690"/>
                <a:gd name="T25" fmla="*/ 1433 h 1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90" h="1698">
                  <a:moveTo>
                    <a:pt x="1690" y="1433"/>
                  </a:moveTo>
                  <a:lnTo>
                    <a:pt x="1162" y="901"/>
                  </a:lnTo>
                  <a:lnTo>
                    <a:pt x="1107" y="957"/>
                  </a:lnTo>
                  <a:lnTo>
                    <a:pt x="743" y="591"/>
                  </a:lnTo>
                  <a:lnTo>
                    <a:pt x="802" y="534"/>
                  </a:lnTo>
                  <a:lnTo>
                    <a:pt x="272" y="0"/>
                  </a:lnTo>
                  <a:lnTo>
                    <a:pt x="0" y="251"/>
                  </a:lnTo>
                  <a:lnTo>
                    <a:pt x="535" y="790"/>
                  </a:lnTo>
                  <a:lnTo>
                    <a:pt x="602" y="725"/>
                  </a:lnTo>
                  <a:lnTo>
                    <a:pt x="971" y="1097"/>
                  </a:lnTo>
                  <a:lnTo>
                    <a:pt x="905" y="1163"/>
                  </a:lnTo>
                  <a:lnTo>
                    <a:pt x="1435" y="1698"/>
                  </a:lnTo>
                  <a:lnTo>
                    <a:pt x="1690" y="143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1" name="Freeform 65">
              <a:extLst>
                <a:ext uri="{FF2B5EF4-FFF2-40B4-BE49-F238E27FC236}">
                  <a16:creationId xmlns:a16="http://schemas.microsoft.com/office/drawing/2014/main" id="{622A69A0-6588-4F99-9178-378B026E0A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3" y="1160"/>
              <a:ext cx="746" cy="795"/>
            </a:xfrm>
            <a:custGeom>
              <a:avLst/>
              <a:gdLst>
                <a:gd name="T0" fmla="*/ 994 w 2167"/>
                <a:gd name="T1" fmla="*/ 1628 h 2304"/>
                <a:gd name="T2" fmla="*/ 1075 w 2167"/>
                <a:gd name="T3" fmla="*/ 1606 h 2304"/>
                <a:gd name="T4" fmla="*/ 614 w 2167"/>
                <a:gd name="T5" fmla="*/ 884 h 2304"/>
                <a:gd name="T6" fmla="*/ 658 w 2167"/>
                <a:gd name="T7" fmla="*/ 709 h 2304"/>
                <a:gd name="T8" fmla="*/ 583 w 2167"/>
                <a:gd name="T9" fmla="*/ 696 h 2304"/>
                <a:gd name="T10" fmla="*/ 558 w 2167"/>
                <a:gd name="T11" fmla="*/ 622 h 2304"/>
                <a:gd name="T12" fmla="*/ 514 w 2167"/>
                <a:gd name="T13" fmla="*/ 632 h 2304"/>
                <a:gd name="T14" fmla="*/ 456 w 2167"/>
                <a:gd name="T15" fmla="*/ 588 h 2304"/>
                <a:gd name="T16" fmla="*/ 473 w 2167"/>
                <a:gd name="T17" fmla="*/ 531 h 2304"/>
                <a:gd name="T18" fmla="*/ 331 w 2167"/>
                <a:gd name="T19" fmla="*/ 671 h 2304"/>
                <a:gd name="T20" fmla="*/ 399 w 2167"/>
                <a:gd name="T21" fmla="*/ 517 h 2304"/>
                <a:gd name="T22" fmla="*/ 377 w 2167"/>
                <a:gd name="T23" fmla="*/ 490 h 2304"/>
                <a:gd name="T24" fmla="*/ 199 w 2167"/>
                <a:gd name="T25" fmla="*/ 561 h 2304"/>
                <a:gd name="T26" fmla="*/ 323 w 2167"/>
                <a:gd name="T27" fmla="*/ 357 h 2304"/>
                <a:gd name="T28" fmla="*/ 0 w 2167"/>
                <a:gd name="T29" fmla="*/ 373 h 2304"/>
                <a:gd name="T30" fmla="*/ 254 w 2167"/>
                <a:gd name="T31" fmla="*/ 160 h 2304"/>
                <a:gd name="T32" fmla="*/ 394 w 2167"/>
                <a:gd name="T33" fmla="*/ 289 h 2304"/>
                <a:gd name="T34" fmla="*/ 472 w 2167"/>
                <a:gd name="T35" fmla="*/ 277 h 2304"/>
                <a:gd name="T36" fmla="*/ 152 w 2167"/>
                <a:gd name="T37" fmla="*/ 22 h 2304"/>
                <a:gd name="T38" fmla="*/ 306 w 2167"/>
                <a:gd name="T39" fmla="*/ 84 h 2304"/>
                <a:gd name="T40" fmla="*/ 544 w 2167"/>
                <a:gd name="T41" fmla="*/ 213 h 2304"/>
                <a:gd name="T42" fmla="*/ 719 w 2167"/>
                <a:gd name="T43" fmla="*/ 89 h 2304"/>
                <a:gd name="T44" fmla="*/ 642 w 2167"/>
                <a:gd name="T45" fmla="*/ 298 h 2304"/>
                <a:gd name="T46" fmla="*/ 777 w 2167"/>
                <a:gd name="T47" fmla="*/ 166 h 2304"/>
                <a:gd name="T48" fmla="*/ 705 w 2167"/>
                <a:gd name="T49" fmla="*/ 312 h 2304"/>
                <a:gd name="T50" fmla="*/ 846 w 2167"/>
                <a:gd name="T51" fmla="*/ 236 h 2304"/>
                <a:gd name="T52" fmla="*/ 776 w 2167"/>
                <a:gd name="T53" fmla="*/ 377 h 2304"/>
                <a:gd name="T54" fmla="*/ 920 w 2167"/>
                <a:gd name="T55" fmla="*/ 292 h 2304"/>
                <a:gd name="T56" fmla="*/ 818 w 2167"/>
                <a:gd name="T57" fmla="*/ 560 h 2304"/>
                <a:gd name="T58" fmla="*/ 922 w 2167"/>
                <a:gd name="T59" fmla="*/ 509 h 2304"/>
                <a:gd name="T60" fmla="*/ 918 w 2167"/>
                <a:gd name="T61" fmla="*/ 592 h 2304"/>
                <a:gd name="T62" fmla="*/ 1476 w 2167"/>
                <a:gd name="T63" fmla="*/ 1174 h 2304"/>
                <a:gd name="T64" fmla="*/ 1557 w 2167"/>
                <a:gd name="T65" fmla="*/ 1207 h 2304"/>
                <a:gd name="T66" fmla="*/ 1709 w 2167"/>
                <a:gd name="T67" fmla="*/ 1109 h 2304"/>
                <a:gd name="T68" fmla="*/ 1745 w 2167"/>
                <a:gd name="T69" fmla="*/ 1270 h 2304"/>
                <a:gd name="T70" fmla="*/ 1660 w 2167"/>
                <a:gd name="T71" fmla="*/ 1378 h 2304"/>
                <a:gd name="T72" fmla="*/ 1760 w 2167"/>
                <a:gd name="T73" fmla="*/ 1449 h 2304"/>
                <a:gd name="T74" fmla="*/ 2024 w 2167"/>
                <a:gd name="T75" fmla="*/ 1911 h 2304"/>
                <a:gd name="T76" fmla="*/ 2079 w 2167"/>
                <a:gd name="T77" fmla="*/ 1970 h 2304"/>
                <a:gd name="T78" fmla="*/ 2058 w 2167"/>
                <a:gd name="T79" fmla="*/ 2142 h 2304"/>
                <a:gd name="T80" fmla="*/ 1788 w 2167"/>
                <a:gd name="T81" fmla="*/ 2073 h 2304"/>
                <a:gd name="T82" fmla="*/ 1643 w 2167"/>
                <a:gd name="T83" fmla="*/ 1989 h 2304"/>
                <a:gd name="T84" fmla="*/ 1457 w 2167"/>
                <a:gd name="T85" fmla="*/ 1706 h 2304"/>
                <a:gd name="T86" fmla="*/ 1252 w 2167"/>
                <a:gd name="T87" fmla="*/ 1919 h 2304"/>
                <a:gd name="T88" fmla="*/ 1236 w 2167"/>
                <a:gd name="T89" fmla="*/ 2187 h 2304"/>
                <a:gd name="T90" fmla="*/ 1101 w 2167"/>
                <a:gd name="T91" fmla="*/ 2304 h 2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167" h="2304">
                  <a:moveTo>
                    <a:pt x="704" y="1908"/>
                  </a:moveTo>
                  <a:lnTo>
                    <a:pt x="707" y="1905"/>
                  </a:lnTo>
                  <a:lnTo>
                    <a:pt x="994" y="1628"/>
                  </a:lnTo>
                  <a:lnTo>
                    <a:pt x="1040" y="1670"/>
                  </a:lnTo>
                  <a:lnTo>
                    <a:pt x="1088" y="1673"/>
                  </a:lnTo>
                  <a:lnTo>
                    <a:pt x="1075" y="1606"/>
                  </a:lnTo>
                  <a:lnTo>
                    <a:pt x="1050" y="1577"/>
                  </a:lnTo>
                  <a:lnTo>
                    <a:pt x="1177" y="1454"/>
                  </a:lnTo>
                  <a:lnTo>
                    <a:pt x="614" y="884"/>
                  </a:lnTo>
                  <a:lnTo>
                    <a:pt x="535" y="874"/>
                  </a:lnTo>
                  <a:lnTo>
                    <a:pt x="655" y="758"/>
                  </a:lnTo>
                  <a:lnTo>
                    <a:pt x="658" y="709"/>
                  </a:lnTo>
                  <a:lnTo>
                    <a:pt x="605" y="663"/>
                  </a:lnTo>
                  <a:lnTo>
                    <a:pt x="571" y="689"/>
                  </a:lnTo>
                  <a:lnTo>
                    <a:pt x="583" y="696"/>
                  </a:lnTo>
                  <a:lnTo>
                    <a:pt x="454" y="813"/>
                  </a:lnTo>
                  <a:lnTo>
                    <a:pt x="403" y="762"/>
                  </a:lnTo>
                  <a:lnTo>
                    <a:pt x="558" y="622"/>
                  </a:lnTo>
                  <a:lnTo>
                    <a:pt x="535" y="599"/>
                  </a:lnTo>
                  <a:lnTo>
                    <a:pt x="508" y="623"/>
                  </a:lnTo>
                  <a:lnTo>
                    <a:pt x="514" y="632"/>
                  </a:lnTo>
                  <a:lnTo>
                    <a:pt x="398" y="737"/>
                  </a:lnTo>
                  <a:lnTo>
                    <a:pt x="349" y="684"/>
                  </a:lnTo>
                  <a:lnTo>
                    <a:pt x="456" y="588"/>
                  </a:lnTo>
                  <a:lnTo>
                    <a:pt x="473" y="587"/>
                  </a:lnTo>
                  <a:lnTo>
                    <a:pt x="502" y="561"/>
                  </a:lnTo>
                  <a:lnTo>
                    <a:pt x="473" y="531"/>
                  </a:lnTo>
                  <a:lnTo>
                    <a:pt x="443" y="557"/>
                  </a:lnTo>
                  <a:lnTo>
                    <a:pt x="450" y="564"/>
                  </a:lnTo>
                  <a:lnTo>
                    <a:pt x="331" y="671"/>
                  </a:lnTo>
                  <a:lnTo>
                    <a:pt x="277" y="616"/>
                  </a:lnTo>
                  <a:lnTo>
                    <a:pt x="393" y="512"/>
                  </a:lnTo>
                  <a:lnTo>
                    <a:pt x="399" y="517"/>
                  </a:lnTo>
                  <a:lnTo>
                    <a:pt x="426" y="493"/>
                  </a:lnTo>
                  <a:lnTo>
                    <a:pt x="402" y="469"/>
                  </a:lnTo>
                  <a:lnTo>
                    <a:pt x="377" y="490"/>
                  </a:lnTo>
                  <a:lnTo>
                    <a:pt x="381" y="494"/>
                  </a:lnTo>
                  <a:lnTo>
                    <a:pt x="249" y="611"/>
                  </a:lnTo>
                  <a:lnTo>
                    <a:pt x="199" y="561"/>
                  </a:lnTo>
                  <a:lnTo>
                    <a:pt x="341" y="400"/>
                  </a:lnTo>
                  <a:lnTo>
                    <a:pt x="353" y="388"/>
                  </a:lnTo>
                  <a:lnTo>
                    <a:pt x="323" y="357"/>
                  </a:lnTo>
                  <a:lnTo>
                    <a:pt x="141" y="518"/>
                  </a:lnTo>
                  <a:lnTo>
                    <a:pt x="43" y="499"/>
                  </a:lnTo>
                  <a:lnTo>
                    <a:pt x="0" y="373"/>
                  </a:lnTo>
                  <a:lnTo>
                    <a:pt x="53" y="209"/>
                  </a:lnTo>
                  <a:lnTo>
                    <a:pt x="81" y="185"/>
                  </a:lnTo>
                  <a:lnTo>
                    <a:pt x="254" y="160"/>
                  </a:lnTo>
                  <a:lnTo>
                    <a:pt x="368" y="202"/>
                  </a:lnTo>
                  <a:lnTo>
                    <a:pt x="379" y="214"/>
                  </a:lnTo>
                  <a:lnTo>
                    <a:pt x="394" y="289"/>
                  </a:lnTo>
                  <a:lnTo>
                    <a:pt x="352" y="327"/>
                  </a:lnTo>
                  <a:lnTo>
                    <a:pt x="401" y="340"/>
                  </a:lnTo>
                  <a:lnTo>
                    <a:pt x="472" y="277"/>
                  </a:lnTo>
                  <a:lnTo>
                    <a:pt x="314" y="118"/>
                  </a:lnTo>
                  <a:lnTo>
                    <a:pt x="273" y="154"/>
                  </a:lnTo>
                  <a:lnTo>
                    <a:pt x="152" y="22"/>
                  </a:lnTo>
                  <a:lnTo>
                    <a:pt x="178" y="0"/>
                  </a:lnTo>
                  <a:lnTo>
                    <a:pt x="282" y="100"/>
                  </a:lnTo>
                  <a:lnTo>
                    <a:pt x="306" y="84"/>
                  </a:lnTo>
                  <a:lnTo>
                    <a:pt x="354" y="132"/>
                  </a:lnTo>
                  <a:lnTo>
                    <a:pt x="414" y="80"/>
                  </a:lnTo>
                  <a:lnTo>
                    <a:pt x="544" y="213"/>
                  </a:lnTo>
                  <a:lnTo>
                    <a:pt x="556" y="203"/>
                  </a:lnTo>
                  <a:lnTo>
                    <a:pt x="572" y="219"/>
                  </a:lnTo>
                  <a:lnTo>
                    <a:pt x="719" y="89"/>
                  </a:lnTo>
                  <a:lnTo>
                    <a:pt x="770" y="140"/>
                  </a:lnTo>
                  <a:lnTo>
                    <a:pt x="619" y="275"/>
                  </a:lnTo>
                  <a:lnTo>
                    <a:pt x="642" y="298"/>
                  </a:lnTo>
                  <a:lnTo>
                    <a:pt x="666" y="277"/>
                  </a:lnTo>
                  <a:lnTo>
                    <a:pt x="660" y="271"/>
                  </a:lnTo>
                  <a:lnTo>
                    <a:pt x="777" y="166"/>
                  </a:lnTo>
                  <a:lnTo>
                    <a:pt x="827" y="217"/>
                  </a:lnTo>
                  <a:lnTo>
                    <a:pt x="713" y="319"/>
                  </a:lnTo>
                  <a:lnTo>
                    <a:pt x="705" y="312"/>
                  </a:lnTo>
                  <a:lnTo>
                    <a:pt x="682" y="333"/>
                  </a:lnTo>
                  <a:lnTo>
                    <a:pt x="707" y="358"/>
                  </a:lnTo>
                  <a:lnTo>
                    <a:pt x="846" y="236"/>
                  </a:lnTo>
                  <a:lnTo>
                    <a:pt x="895" y="286"/>
                  </a:lnTo>
                  <a:lnTo>
                    <a:pt x="785" y="385"/>
                  </a:lnTo>
                  <a:lnTo>
                    <a:pt x="776" y="377"/>
                  </a:lnTo>
                  <a:lnTo>
                    <a:pt x="746" y="403"/>
                  </a:lnTo>
                  <a:lnTo>
                    <a:pt x="771" y="428"/>
                  </a:lnTo>
                  <a:lnTo>
                    <a:pt x="920" y="292"/>
                  </a:lnTo>
                  <a:lnTo>
                    <a:pt x="970" y="343"/>
                  </a:lnTo>
                  <a:lnTo>
                    <a:pt x="816" y="483"/>
                  </a:lnTo>
                  <a:lnTo>
                    <a:pt x="818" y="560"/>
                  </a:lnTo>
                  <a:lnTo>
                    <a:pt x="879" y="559"/>
                  </a:lnTo>
                  <a:lnTo>
                    <a:pt x="898" y="531"/>
                  </a:lnTo>
                  <a:lnTo>
                    <a:pt x="922" y="509"/>
                  </a:lnTo>
                  <a:lnTo>
                    <a:pt x="948" y="546"/>
                  </a:lnTo>
                  <a:lnTo>
                    <a:pt x="919" y="552"/>
                  </a:lnTo>
                  <a:lnTo>
                    <a:pt x="918" y="592"/>
                  </a:lnTo>
                  <a:cubicBezTo>
                    <a:pt x="918" y="592"/>
                    <a:pt x="1033" y="602"/>
                    <a:pt x="1063" y="694"/>
                  </a:cubicBezTo>
                  <a:cubicBezTo>
                    <a:pt x="1094" y="785"/>
                    <a:pt x="1088" y="785"/>
                    <a:pt x="1088" y="785"/>
                  </a:cubicBezTo>
                  <a:lnTo>
                    <a:pt x="1476" y="1174"/>
                  </a:lnTo>
                  <a:lnTo>
                    <a:pt x="1450" y="1198"/>
                  </a:lnTo>
                  <a:lnTo>
                    <a:pt x="1531" y="1251"/>
                  </a:lnTo>
                  <a:lnTo>
                    <a:pt x="1557" y="1207"/>
                  </a:lnTo>
                  <a:lnTo>
                    <a:pt x="1590" y="1170"/>
                  </a:lnTo>
                  <a:lnTo>
                    <a:pt x="1611" y="1187"/>
                  </a:lnTo>
                  <a:lnTo>
                    <a:pt x="1709" y="1109"/>
                  </a:lnTo>
                  <a:lnTo>
                    <a:pt x="1771" y="1139"/>
                  </a:lnTo>
                  <a:lnTo>
                    <a:pt x="1810" y="1207"/>
                  </a:lnTo>
                  <a:lnTo>
                    <a:pt x="1745" y="1270"/>
                  </a:lnTo>
                  <a:lnTo>
                    <a:pt x="1725" y="1329"/>
                  </a:lnTo>
                  <a:lnTo>
                    <a:pt x="1692" y="1362"/>
                  </a:lnTo>
                  <a:lnTo>
                    <a:pt x="1660" y="1378"/>
                  </a:lnTo>
                  <a:lnTo>
                    <a:pt x="1686" y="1404"/>
                  </a:lnTo>
                  <a:lnTo>
                    <a:pt x="1709" y="1451"/>
                  </a:lnTo>
                  <a:lnTo>
                    <a:pt x="1760" y="1449"/>
                  </a:lnTo>
                  <a:lnTo>
                    <a:pt x="2083" y="1776"/>
                  </a:lnTo>
                  <a:lnTo>
                    <a:pt x="2013" y="1903"/>
                  </a:lnTo>
                  <a:lnTo>
                    <a:pt x="2024" y="1911"/>
                  </a:lnTo>
                  <a:lnTo>
                    <a:pt x="2037" y="1898"/>
                  </a:lnTo>
                  <a:lnTo>
                    <a:pt x="2093" y="1955"/>
                  </a:lnTo>
                  <a:lnTo>
                    <a:pt x="2079" y="1970"/>
                  </a:lnTo>
                  <a:lnTo>
                    <a:pt x="2167" y="2060"/>
                  </a:lnTo>
                  <a:lnTo>
                    <a:pt x="2090" y="2140"/>
                  </a:lnTo>
                  <a:lnTo>
                    <a:pt x="2058" y="2142"/>
                  </a:lnTo>
                  <a:lnTo>
                    <a:pt x="1979" y="2062"/>
                  </a:lnTo>
                  <a:lnTo>
                    <a:pt x="1888" y="1970"/>
                  </a:lnTo>
                  <a:lnTo>
                    <a:pt x="1788" y="2073"/>
                  </a:lnTo>
                  <a:lnTo>
                    <a:pt x="1699" y="1983"/>
                  </a:lnTo>
                  <a:lnTo>
                    <a:pt x="1668" y="2015"/>
                  </a:lnTo>
                  <a:lnTo>
                    <a:pt x="1643" y="1989"/>
                  </a:lnTo>
                  <a:lnTo>
                    <a:pt x="1674" y="1955"/>
                  </a:lnTo>
                  <a:lnTo>
                    <a:pt x="1469" y="1753"/>
                  </a:lnTo>
                  <a:lnTo>
                    <a:pt x="1457" y="1706"/>
                  </a:lnTo>
                  <a:lnTo>
                    <a:pt x="1317" y="1843"/>
                  </a:lnTo>
                  <a:lnTo>
                    <a:pt x="1220" y="1806"/>
                  </a:lnTo>
                  <a:lnTo>
                    <a:pt x="1252" y="1919"/>
                  </a:lnTo>
                  <a:lnTo>
                    <a:pt x="1147" y="2026"/>
                  </a:lnTo>
                  <a:lnTo>
                    <a:pt x="1240" y="2119"/>
                  </a:lnTo>
                  <a:lnTo>
                    <a:pt x="1236" y="2187"/>
                  </a:lnTo>
                  <a:lnTo>
                    <a:pt x="1283" y="2280"/>
                  </a:lnTo>
                  <a:lnTo>
                    <a:pt x="1148" y="2255"/>
                  </a:lnTo>
                  <a:lnTo>
                    <a:pt x="1101" y="2304"/>
                  </a:lnTo>
                  <a:lnTo>
                    <a:pt x="704" y="190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2" name="Freeform 66">
              <a:extLst>
                <a:ext uri="{FF2B5EF4-FFF2-40B4-BE49-F238E27FC236}">
                  <a16:creationId xmlns:a16="http://schemas.microsoft.com/office/drawing/2014/main" id="{859A886C-D9CB-483F-85F5-B0ADB63C1D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6" y="1277"/>
              <a:ext cx="249" cy="222"/>
            </a:xfrm>
            <a:custGeom>
              <a:avLst/>
              <a:gdLst>
                <a:gd name="T0" fmla="*/ 723 w 723"/>
                <a:gd name="T1" fmla="*/ 395 h 644"/>
                <a:gd name="T2" fmla="*/ 706 w 723"/>
                <a:gd name="T3" fmla="*/ 378 h 644"/>
                <a:gd name="T4" fmla="*/ 586 w 723"/>
                <a:gd name="T5" fmla="*/ 352 h 644"/>
                <a:gd name="T6" fmla="*/ 558 w 723"/>
                <a:gd name="T7" fmla="*/ 323 h 644"/>
                <a:gd name="T8" fmla="*/ 593 w 723"/>
                <a:gd name="T9" fmla="*/ 293 h 644"/>
                <a:gd name="T10" fmla="*/ 576 w 723"/>
                <a:gd name="T11" fmla="*/ 249 h 644"/>
                <a:gd name="T12" fmla="*/ 515 w 723"/>
                <a:gd name="T13" fmla="*/ 188 h 644"/>
                <a:gd name="T14" fmla="*/ 567 w 723"/>
                <a:gd name="T15" fmla="*/ 143 h 644"/>
                <a:gd name="T16" fmla="*/ 514 w 723"/>
                <a:gd name="T17" fmla="*/ 90 h 644"/>
                <a:gd name="T18" fmla="*/ 530 w 723"/>
                <a:gd name="T19" fmla="*/ 76 h 644"/>
                <a:gd name="T20" fmla="*/ 431 w 723"/>
                <a:gd name="T21" fmla="*/ 73 h 644"/>
                <a:gd name="T22" fmla="*/ 365 w 723"/>
                <a:gd name="T23" fmla="*/ 7 h 644"/>
                <a:gd name="T24" fmla="*/ 214 w 723"/>
                <a:gd name="T25" fmla="*/ 0 h 644"/>
                <a:gd name="T26" fmla="*/ 43 w 723"/>
                <a:gd name="T27" fmla="*/ 143 h 644"/>
                <a:gd name="T28" fmla="*/ 110 w 723"/>
                <a:gd name="T29" fmla="*/ 295 h 644"/>
                <a:gd name="T30" fmla="*/ 0 w 723"/>
                <a:gd name="T31" fmla="*/ 387 h 644"/>
                <a:gd name="T32" fmla="*/ 47 w 723"/>
                <a:gd name="T33" fmla="*/ 434 h 644"/>
                <a:gd name="T34" fmla="*/ 67 w 723"/>
                <a:gd name="T35" fmla="*/ 417 h 644"/>
                <a:gd name="T36" fmla="*/ 87 w 723"/>
                <a:gd name="T37" fmla="*/ 438 h 644"/>
                <a:gd name="T38" fmla="*/ 69 w 723"/>
                <a:gd name="T39" fmla="*/ 453 h 644"/>
                <a:gd name="T40" fmla="*/ 122 w 723"/>
                <a:gd name="T41" fmla="*/ 455 h 644"/>
                <a:gd name="T42" fmla="*/ 141 w 723"/>
                <a:gd name="T43" fmla="*/ 412 h 644"/>
                <a:gd name="T44" fmla="*/ 168 w 723"/>
                <a:gd name="T45" fmla="*/ 437 h 644"/>
                <a:gd name="T46" fmla="*/ 216 w 723"/>
                <a:gd name="T47" fmla="*/ 442 h 644"/>
                <a:gd name="T48" fmla="*/ 293 w 723"/>
                <a:gd name="T49" fmla="*/ 415 h 644"/>
                <a:gd name="T50" fmla="*/ 308 w 723"/>
                <a:gd name="T51" fmla="*/ 430 h 644"/>
                <a:gd name="T52" fmla="*/ 295 w 723"/>
                <a:gd name="T53" fmla="*/ 442 h 644"/>
                <a:gd name="T54" fmla="*/ 326 w 723"/>
                <a:gd name="T55" fmla="*/ 474 h 644"/>
                <a:gd name="T56" fmla="*/ 363 w 723"/>
                <a:gd name="T57" fmla="*/ 491 h 644"/>
                <a:gd name="T58" fmla="*/ 544 w 723"/>
                <a:gd name="T59" fmla="*/ 536 h 644"/>
                <a:gd name="T60" fmla="*/ 464 w 723"/>
                <a:gd name="T61" fmla="*/ 619 h 644"/>
                <a:gd name="T62" fmla="*/ 489 w 723"/>
                <a:gd name="T63" fmla="*/ 644 h 644"/>
                <a:gd name="T64" fmla="*/ 626 w 723"/>
                <a:gd name="T65" fmla="*/ 553 h 644"/>
                <a:gd name="T66" fmla="*/ 587 w 723"/>
                <a:gd name="T67" fmla="*/ 513 h 644"/>
                <a:gd name="T68" fmla="*/ 723 w 723"/>
                <a:gd name="T69" fmla="*/ 395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23" h="644">
                  <a:moveTo>
                    <a:pt x="723" y="395"/>
                  </a:moveTo>
                  <a:lnTo>
                    <a:pt x="706" y="378"/>
                  </a:lnTo>
                  <a:lnTo>
                    <a:pt x="586" y="352"/>
                  </a:lnTo>
                  <a:lnTo>
                    <a:pt x="558" y="323"/>
                  </a:lnTo>
                  <a:lnTo>
                    <a:pt x="593" y="293"/>
                  </a:lnTo>
                  <a:lnTo>
                    <a:pt x="576" y="249"/>
                  </a:lnTo>
                  <a:lnTo>
                    <a:pt x="515" y="188"/>
                  </a:lnTo>
                  <a:lnTo>
                    <a:pt x="567" y="143"/>
                  </a:lnTo>
                  <a:lnTo>
                    <a:pt x="514" y="90"/>
                  </a:lnTo>
                  <a:lnTo>
                    <a:pt x="530" y="76"/>
                  </a:lnTo>
                  <a:lnTo>
                    <a:pt x="431" y="73"/>
                  </a:lnTo>
                  <a:lnTo>
                    <a:pt x="365" y="7"/>
                  </a:lnTo>
                  <a:lnTo>
                    <a:pt x="214" y="0"/>
                  </a:lnTo>
                  <a:lnTo>
                    <a:pt x="43" y="143"/>
                  </a:lnTo>
                  <a:lnTo>
                    <a:pt x="110" y="295"/>
                  </a:lnTo>
                  <a:lnTo>
                    <a:pt x="0" y="387"/>
                  </a:lnTo>
                  <a:lnTo>
                    <a:pt x="47" y="434"/>
                  </a:lnTo>
                  <a:lnTo>
                    <a:pt x="67" y="417"/>
                  </a:lnTo>
                  <a:lnTo>
                    <a:pt x="87" y="438"/>
                  </a:lnTo>
                  <a:lnTo>
                    <a:pt x="69" y="453"/>
                  </a:lnTo>
                  <a:lnTo>
                    <a:pt x="122" y="455"/>
                  </a:lnTo>
                  <a:lnTo>
                    <a:pt x="141" y="412"/>
                  </a:lnTo>
                  <a:lnTo>
                    <a:pt x="168" y="437"/>
                  </a:lnTo>
                  <a:lnTo>
                    <a:pt x="216" y="442"/>
                  </a:lnTo>
                  <a:lnTo>
                    <a:pt x="293" y="415"/>
                  </a:lnTo>
                  <a:lnTo>
                    <a:pt x="308" y="430"/>
                  </a:lnTo>
                  <a:lnTo>
                    <a:pt x="295" y="442"/>
                  </a:lnTo>
                  <a:lnTo>
                    <a:pt x="326" y="474"/>
                  </a:lnTo>
                  <a:lnTo>
                    <a:pt x="363" y="491"/>
                  </a:lnTo>
                  <a:lnTo>
                    <a:pt x="544" y="536"/>
                  </a:lnTo>
                  <a:lnTo>
                    <a:pt x="464" y="619"/>
                  </a:lnTo>
                  <a:lnTo>
                    <a:pt x="489" y="644"/>
                  </a:lnTo>
                  <a:lnTo>
                    <a:pt x="626" y="553"/>
                  </a:lnTo>
                  <a:lnTo>
                    <a:pt x="587" y="513"/>
                  </a:lnTo>
                  <a:lnTo>
                    <a:pt x="723" y="39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3" name="Freeform 67">
              <a:extLst>
                <a:ext uri="{FF2B5EF4-FFF2-40B4-BE49-F238E27FC236}">
                  <a16:creationId xmlns:a16="http://schemas.microsoft.com/office/drawing/2014/main" id="{B37ED1FF-5A5F-4175-BE36-C4C4E650F6C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0" y="1815"/>
              <a:ext cx="146" cy="170"/>
            </a:xfrm>
            <a:custGeom>
              <a:avLst/>
              <a:gdLst>
                <a:gd name="T0" fmla="*/ 424 w 424"/>
                <a:gd name="T1" fmla="*/ 46 h 491"/>
                <a:gd name="T2" fmla="*/ 396 w 424"/>
                <a:gd name="T3" fmla="*/ 47 h 491"/>
                <a:gd name="T4" fmla="*/ 346 w 424"/>
                <a:gd name="T5" fmla="*/ 99 h 491"/>
                <a:gd name="T6" fmla="*/ 394 w 424"/>
                <a:gd name="T7" fmla="*/ 147 h 491"/>
                <a:gd name="T8" fmla="*/ 360 w 424"/>
                <a:gd name="T9" fmla="*/ 232 h 491"/>
                <a:gd name="T10" fmla="*/ 336 w 424"/>
                <a:gd name="T11" fmla="*/ 227 h 491"/>
                <a:gd name="T12" fmla="*/ 319 w 424"/>
                <a:gd name="T13" fmla="*/ 276 h 491"/>
                <a:gd name="T14" fmla="*/ 338 w 424"/>
                <a:gd name="T15" fmla="*/ 297 h 491"/>
                <a:gd name="T16" fmla="*/ 293 w 424"/>
                <a:gd name="T17" fmla="*/ 353 h 491"/>
                <a:gd name="T18" fmla="*/ 277 w 424"/>
                <a:gd name="T19" fmla="*/ 410 h 491"/>
                <a:gd name="T20" fmla="*/ 300 w 424"/>
                <a:gd name="T21" fmla="*/ 438 h 491"/>
                <a:gd name="T22" fmla="*/ 259 w 424"/>
                <a:gd name="T23" fmla="*/ 491 h 491"/>
                <a:gd name="T24" fmla="*/ 244 w 424"/>
                <a:gd name="T25" fmla="*/ 422 h 491"/>
                <a:gd name="T26" fmla="*/ 275 w 424"/>
                <a:gd name="T27" fmla="*/ 326 h 491"/>
                <a:gd name="T28" fmla="*/ 264 w 424"/>
                <a:gd name="T29" fmla="*/ 302 h 491"/>
                <a:gd name="T30" fmla="*/ 321 w 424"/>
                <a:gd name="T31" fmla="*/ 173 h 491"/>
                <a:gd name="T32" fmla="*/ 348 w 424"/>
                <a:gd name="T33" fmla="*/ 159 h 491"/>
                <a:gd name="T34" fmla="*/ 354 w 424"/>
                <a:gd name="T35" fmla="*/ 139 h 491"/>
                <a:gd name="T36" fmla="*/ 332 w 424"/>
                <a:gd name="T37" fmla="*/ 118 h 491"/>
                <a:gd name="T38" fmla="*/ 304 w 424"/>
                <a:gd name="T39" fmla="*/ 146 h 491"/>
                <a:gd name="T40" fmla="*/ 275 w 424"/>
                <a:gd name="T41" fmla="*/ 161 h 491"/>
                <a:gd name="T42" fmla="*/ 256 w 424"/>
                <a:gd name="T43" fmla="*/ 193 h 491"/>
                <a:gd name="T44" fmla="*/ 157 w 424"/>
                <a:gd name="T45" fmla="*/ 295 h 491"/>
                <a:gd name="T46" fmla="*/ 94 w 424"/>
                <a:gd name="T47" fmla="*/ 324 h 491"/>
                <a:gd name="T48" fmla="*/ 8 w 424"/>
                <a:gd name="T49" fmla="*/ 324 h 491"/>
                <a:gd name="T50" fmla="*/ 0 w 424"/>
                <a:gd name="T51" fmla="*/ 289 h 491"/>
                <a:gd name="T52" fmla="*/ 70 w 424"/>
                <a:gd name="T53" fmla="*/ 261 h 491"/>
                <a:gd name="T54" fmla="*/ 198 w 424"/>
                <a:gd name="T55" fmla="*/ 132 h 491"/>
                <a:gd name="T56" fmla="*/ 228 w 424"/>
                <a:gd name="T57" fmla="*/ 125 h 491"/>
                <a:gd name="T58" fmla="*/ 224 w 424"/>
                <a:gd name="T59" fmla="*/ 102 h 491"/>
                <a:gd name="T60" fmla="*/ 313 w 424"/>
                <a:gd name="T61" fmla="*/ 6 h 491"/>
                <a:gd name="T62" fmla="*/ 356 w 424"/>
                <a:gd name="T63" fmla="*/ 22 h 491"/>
                <a:gd name="T64" fmla="*/ 378 w 424"/>
                <a:gd name="T65" fmla="*/ 0 h 491"/>
                <a:gd name="T66" fmla="*/ 424 w 424"/>
                <a:gd name="T67" fmla="*/ 46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24" h="491">
                  <a:moveTo>
                    <a:pt x="424" y="46"/>
                  </a:moveTo>
                  <a:lnTo>
                    <a:pt x="396" y="47"/>
                  </a:lnTo>
                  <a:lnTo>
                    <a:pt x="346" y="99"/>
                  </a:lnTo>
                  <a:lnTo>
                    <a:pt x="394" y="147"/>
                  </a:lnTo>
                  <a:lnTo>
                    <a:pt x="360" y="232"/>
                  </a:lnTo>
                  <a:lnTo>
                    <a:pt x="336" y="227"/>
                  </a:lnTo>
                  <a:lnTo>
                    <a:pt x="319" y="276"/>
                  </a:lnTo>
                  <a:lnTo>
                    <a:pt x="338" y="297"/>
                  </a:lnTo>
                  <a:lnTo>
                    <a:pt x="293" y="353"/>
                  </a:lnTo>
                  <a:lnTo>
                    <a:pt x="277" y="410"/>
                  </a:lnTo>
                  <a:cubicBezTo>
                    <a:pt x="277" y="410"/>
                    <a:pt x="303" y="435"/>
                    <a:pt x="300" y="438"/>
                  </a:cubicBezTo>
                  <a:cubicBezTo>
                    <a:pt x="298" y="441"/>
                    <a:pt x="259" y="491"/>
                    <a:pt x="259" y="491"/>
                  </a:cubicBezTo>
                  <a:lnTo>
                    <a:pt x="244" y="422"/>
                  </a:lnTo>
                  <a:lnTo>
                    <a:pt x="275" y="326"/>
                  </a:lnTo>
                  <a:lnTo>
                    <a:pt x="264" y="302"/>
                  </a:lnTo>
                  <a:lnTo>
                    <a:pt x="321" y="173"/>
                  </a:lnTo>
                  <a:lnTo>
                    <a:pt x="348" y="159"/>
                  </a:lnTo>
                  <a:lnTo>
                    <a:pt x="354" y="139"/>
                  </a:lnTo>
                  <a:lnTo>
                    <a:pt x="332" y="118"/>
                  </a:lnTo>
                  <a:lnTo>
                    <a:pt x="304" y="146"/>
                  </a:lnTo>
                  <a:lnTo>
                    <a:pt x="275" y="161"/>
                  </a:lnTo>
                  <a:lnTo>
                    <a:pt x="256" y="193"/>
                  </a:lnTo>
                  <a:lnTo>
                    <a:pt x="157" y="295"/>
                  </a:lnTo>
                  <a:lnTo>
                    <a:pt x="94" y="324"/>
                  </a:lnTo>
                  <a:lnTo>
                    <a:pt x="8" y="324"/>
                  </a:lnTo>
                  <a:lnTo>
                    <a:pt x="0" y="289"/>
                  </a:lnTo>
                  <a:lnTo>
                    <a:pt x="70" y="261"/>
                  </a:lnTo>
                  <a:lnTo>
                    <a:pt x="198" y="132"/>
                  </a:lnTo>
                  <a:lnTo>
                    <a:pt x="228" y="125"/>
                  </a:lnTo>
                  <a:lnTo>
                    <a:pt x="224" y="102"/>
                  </a:lnTo>
                  <a:lnTo>
                    <a:pt x="313" y="6"/>
                  </a:lnTo>
                  <a:lnTo>
                    <a:pt x="356" y="22"/>
                  </a:lnTo>
                  <a:lnTo>
                    <a:pt x="378" y="0"/>
                  </a:lnTo>
                  <a:lnTo>
                    <a:pt x="424" y="4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4" name="Freeform 68">
              <a:extLst>
                <a:ext uri="{FF2B5EF4-FFF2-40B4-BE49-F238E27FC236}">
                  <a16:creationId xmlns:a16="http://schemas.microsoft.com/office/drawing/2014/main" id="{AA7FC74D-5F85-4826-B66E-3B483A8D27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28" y="1907"/>
              <a:ext cx="112" cy="215"/>
            </a:xfrm>
            <a:custGeom>
              <a:avLst/>
              <a:gdLst>
                <a:gd name="T0" fmla="*/ 281 w 325"/>
                <a:gd name="T1" fmla="*/ 566 h 623"/>
                <a:gd name="T2" fmla="*/ 221 w 325"/>
                <a:gd name="T3" fmla="*/ 449 h 623"/>
                <a:gd name="T4" fmla="*/ 251 w 325"/>
                <a:gd name="T5" fmla="*/ 578 h 623"/>
                <a:gd name="T6" fmla="*/ 279 w 325"/>
                <a:gd name="T7" fmla="*/ 562 h 623"/>
                <a:gd name="T8" fmla="*/ 123 w 325"/>
                <a:gd name="T9" fmla="*/ 218 h 623"/>
                <a:gd name="T10" fmla="*/ 81 w 325"/>
                <a:gd name="T11" fmla="*/ 66 h 623"/>
                <a:gd name="T12" fmla="*/ 47 w 325"/>
                <a:gd name="T13" fmla="*/ 85 h 623"/>
                <a:gd name="T14" fmla="*/ 123 w 325"/>
                <a:gd name="T15" fmla="*/ 218 h 623"/>
                <a:gd name="T16" fmla="*/ 325 w 325"/>
                <a:gd name="T17" fmla="*/ 576 h 623"/>
                <a:gd name="T18" fmla="*/ 249 w 325"/>
                <a:gd name="T19" fmla="*/ 623 h 623"/>
                <a:gd name="T20" fmla="*/ 214 w 325"/>
                <a:gd name="T21" fmla="*/ 587 h 623"/>
                <a:gd name="T22" fmla="*/ 171 w 325"/>
                <a:gd name="T23" fmla="*/ 386 h 623"/>
                <a:gd name="T24" fmla="*/ 0 w 325"/>
                <a:gd name="T25" fmla="*/ 67 h 623"/>
                <a:gd name="T26" fmla="*/ 77 w 325"/>
                <a:gd name="T27" fmla="*/ 34 h 623"/>
                <a:gd name="T28" fmla="*/ 109 w 325"/>
                <a:gd name="T29" fmla="*/ 0 h 623"/>
                <a:gd name="T30" fmla="*/ 211 w 325"/>
                <a:gd name="T31" fmla="*/ 357 h 623"/>
                <a:gd name="T32" fmla="*/ 325 w 325"/>
                <a:gd name="T33" fmla="*/ 576 h 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25" h="623">
                  <a:moveTo>
                    <a:pt x="281" y="566"/>
                  </a:moveTo>
                  <a:lnTo>
                    <a:pt x="221" y="449"/>
                  </a:lnTo>
                  <a:lnTo>
                    <a:pt x="251" y="578"/>
                  </a:lnTo>
                  <a:lnTo>
                    <a:pt x="279" y="562"/>
                  </a:lnTo>
                  <a:moveTo>
                    <a:pt x="123" y="218"/>
                  </a:moveTo>
                  <a:lnTo>
                    <a:pt x="81" y="66"/>
                  </a:lnTo>
                  <a:lnTo>
                    <a:pt x="47" y="85"/>
                  </a:lnTo>
                  <a:lnTo>
                    <a:pt x="123" y="218"/>
                  </a:lnTo>
                  <a:close/>
                  <a:moveTo>
                    <a:pt x="325" y="576"/>
                  </a:moveTo>
                  <a:lnTo>
                    <a:pt x="249" y="623"/>
                  </a:lnTo>
                  <a:lnTo>
                    <a:pt x="214" y="587"/>
                  </a:lnTo>
                  <a:lnTo>
                    <a:pt x="171" y="386"/>
                  </a:lnTo>
                  <a:lnTo>
                    <a:pt x="0" y="67"/>
                  </a:lnTo>
                  <a:lnTo>
                    <a:pt x="77" y="34"/>
                  </a:lnTo>
                  <a:lnTo>
                    <a:pt x="109" y="0"/>
                  </a:lnTo>
                  <a:lnTo>
                    <a:pt x="211" y="357"/>
                  </a:lnTo>
                  <a:lnTo>
                    <a:pt x="325" y="57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46" name="Oval 245">
            <a:extLst>
              <a:ext uri="{FF2B5EF4-FFF2-40B4-BE49-F238E27FC236}">
                <a16:creationId xmlns:a16="http://schemas.microsoft.com/office/drawing/2014/main" id="{E527F53F-4B0D-4234-8331-DDC9B4299F8D}"/>
              </a:ext>
            </a:extLst>
          </p:cNvPr>
          <p:cNvSpPr/>
          <p:nvPr/>
        </p:nvSpPr>
        <p:spPr>
          <a:xfrm>
            <a:off x="4628875" y="469900"/>
            <a:ext cx="45720" cy="45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glow rad="254000">
              <a:schemeClr val="accent3">
                <a:satMod val="175000"/>
                <a:alpha val="3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7" name="Oval 246">
            <a:extLst>
              <a:ext uri="{FF2B5EF4-FFF2-40B4-BE49-F238E27FC236}">
                <a16:creationId xmlns:a16="http://schemas.microsoft.com/office/drawing/2014/main" id="{F859AE63-AA6B-4205-8FC0-9FAE2C5F2390}"/>
              </a:ext>
            </a:extLst>
          </p:cNvPr>
          <p:cNvSpPr/>
          <p:nvPr/>
        </p:nvSpPr>
        <p:spPr>
          <a:xfrm>
            <a:off x="6032225" y="622300"/>
            <a:ext cx="45720" cy="45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glow rad="254000">
              <a:schemeClr val="accent3">
                <a:satMod val="175000"/>
                <a:alpha val="3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8" name="Oval 247">
            <a:extLst>
              <a:ext uri="{FF2B5EF4-FFF2-40B4-BE49-F238E27FC236}">
                <a16:creationId xmlns:a16="http://schemas.microsoft.com/office/drawing/2014/main" id="{1346CBAA-3AC3-4436-B6FB-0446376347B7}"/>
              </a:ext>
            </a:extLst>
          </p:cNvPr>
          <p:cNvSpPr/>
          <p:nvPr/>
        </p:nvSpPr>
        <p:spPr>
          <a:xfrm>
            <a:off x="7048225" y="279400"/>
            <a:ext cx="45720" cy="45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glow rad="254000">
              <a:schemeClr val="accent3">
                <a:satMod val="175000"/>
                <a:alpha val="3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9" name="Oval 248">
            <a:extLst>
              <a:ext uri="{FF2B5EF4-FFF2-40B4-BE49-F238E27FC236}">
                <a16:creationId xmlns:a16="http://schemas.microsoft.com/office/drawing/2014/main" id="{85538AD0-7ED2-49B5-8B3C-5535C9BD6D67}"/>
              </a:ext>
            </a:extLst>
          </p:cNvPr>
          <p:cNvSpPr/>
          <p:nvPr/>
        </p:nvSpPr>
        <p:spPr>
          <a:xfrm>
            <a:off x="5073375" y="387350"/>
            <a:ext cx="45720" cy="45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glow rad="254000">
              <a:schemeClr val="accent3">
                <a:satMod val="175000"/>
                <a:alpha val="3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0" name="Oval 249">
            <a:extLst>
              <a:ext uri="{FF2B5EF4-FFF2-40B4-BE49-F238E27FC236}">
                <a16:creationId xmlns:a16="http://schemas.microsoft.com/office/drawing/2014/main" id="{1657CE7C-7EF4-4562-AC56-80990B3B8D86}"/>
              </a:ext>
            </a:extLst>
          </p:cNvPr>
          <p:cNvSpPr/>
          <p:nvPr/>
        </p:nvSpPr>
        <p:spPr>
          <a:xfrm>
            <a:off x="8220253" y="626835"/>
            <a:ext cx="45720" cy="45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glow rad="254000">
              <a:schemeClr val="accent3">
                <a:satMod val="175000"/>
                <a:alpha val="3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1" name="Oval 250">
            <a:extLst>
              <a:ext uri="{FF2B5EF4-FFF2-40B4-BE49-F238E27FC236}">
                <a16:creationId xmlns:a16="http://schemas.microsoft.com/office/drawing/2014/main" id="{84A9CC90-E4D3-44F6-ADC5-617CBF991DE2}"/>
              </a:ext>
            </a:extLst>
          </p:cNvPr>
          <p:cNvSpPr/>
          <p:nvPr/>
        </p:nvSpPr>
        <p:spPr>
          <a:xfrm>
            <a:off x="3257275" y="692150"/>
            <a:ext cx="45720" cy="4572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glow rad="254000">
              <a:schemeClr val="accent3">
                <a:satMod val="175000"/>
                <a:alpha val="3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2" name="Freeform: Shape 251">
            <a:extLst>
              <a:ext uri="{FF2B5EF4-FFF2-40B4-BE49-F238E27FC236}">
                <a16:creationId xmlns:a16="http://schemas.microsoft.com/office/drawing/2014/main" id="{74BBE704-F156-4442-BFD7-52C2B2257547}"/>
              </a:ext>
            </a:extLst>
          </p:cNvPr>
          <p:cNvSpPr/>
          <p:nvPr/>
        </p:nvSpPr>
        <p:spPr>
          <a:xfrm rot="21337557">
            <a:off x="4761637" y="986545"/>
            <a:ext cx="4131505" cy="1442930"/>
          </a:xfrm>
          <a:custGeom>
            <a:avLst/>
            <a:gdLst>
              <a:gd name="connsiteX0" fmla="*/ 298665 w 5695305"/>
              <a:gd name="connsiteY0" fmla="*/ 230809 h 1424871"/>
              <a:gd name="connsiteX1" fmla="*/ 870165 w 5695305"/>
              <a:gd name="connsiteY1" fmla="*/ 22991 h 1424871"/>
              <a:gd name="connsiteX2" fmla="*/ 1368929 w 5695305"/>
              <a:gd name="connsiteY2" fmla="*/ 43773 h 1424871"/>
              <a:gd name="connsiteX3" fmla="*/ 2044338 w 5695305"/>
              <a:gd name="connsiteY3" fmla="*/ 365891 h 1424871"/>
              <a:gd name="connsiteX4" fmla="*/ 2792483 w 5695305"/>
              <a:gd name="connsiteY4" fmla="*/ 272373 h 1424871"/>
              <a:gd name="connsiteX5" fmla="*/ 3322420 w 5695305"/>
              <a:gd name="connsiteY5" fmla="*/ 178855 h 1424871"/>
              <a:gd name="connsiteX6" fmla="*/ 4174474 w 5695305"/>
              <a:gd name="connsiteY6" fmla="*/ 500973 h 1424871"/>
              <a:gd name="connsiteX7" fmla="*/ 4943402 w 5695305"/>
              <a:gd name="connsiteY7" fmla="*/ 449018 h 1424871"/>
              <a:gd name="connsiteX8" fmla="*/ 5670765 w 5695305"/>
              <a:gd name="connsiteY8" fmla="*/ 365891 h 1424871"/>
              <a:gd name="connsiteX9" fmla="*/ 5369429 w 5695305"/>
              <a:gd name="connsiteY9" fmla="*/ 1321855 h 1424871"/>
              <a:gd name="connsiteX10" fmla="*/ 3904311 w 5695305"/>
              <a:gd name="connsiteY10" fmla="*/ 1363418 h 1424871"/>
              <a:gd name="connsiteX11" fmla="*/ 3010693 w 5695305"/>
              <a:gd name="connsiteY11" fmla="*/ 1010128 h 1424871"/>
              <a:gd name="connsiteX12" fmla="*/ 1971602 w 5695305"/>
              <a:gd name="connsiteY12" fmla="*/ 1197164 h 1424871"/>
              <a:gd name="connsiteX13" fmla="*/ 1233847 w 5695305"/>
              <a:gd name="connsiteY13" fmla="*/ 823091 h 1424871"/>
              <a:gd name="connsiteX14" fmla="*/ 49283 w 5695305"/>
              <a:gd name="connsiteY14" fmla="*/ 1041300 h 1424871"/>
              <a:gd name="connsiteX15" fmla="*/ 298665 w 5695305"/>
              <a:gd name="connsiteY15" fmla="*/ 230809 h 14248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695305" h="1424871">
                <a:moveTo>
                  <a:pt x="298665" y="230809"/>
                </a:moveTo>
                <a:cubicBezTo>
                  <a:pt x="435479" y="61091"/>
                  <a:pt x="691788" y="54164"/>
                  <a:pt x="870165" y="22991"/>
                </a:cubicBezTo>
                <a:cubicBezTo>
                  <a:pt x="1048542" y="-8182"/>
                  <a:pt x="1173234" y="-13377"/>
                  <a:pt x="1368929" y="43773"/>
                </a:cubicBezTo>
                <a:cubicBezTo>
                  <a:pt x="1564625" y="100923"/>
                  <a:pt x="1807079" y="327791"/>
                  <a:pt x="2044338" y="365891"/>
                </a:cubicBezTo>
                <a:cubicBezTo>
                  <a:pt x="2281597" y="403991"/>
                  <a:pt x="2579469" y="303546"/>
                  <a:pt x="2792483" y="272373"/>
                </a:cubicBezTo>
                <a:cubicBezTo>
                  <a:pt x="3005497" y="241200"/>
                  <a:pt x="3092088" y="140755"/>
                  <a:pt x="3322420" y="178855"/>
                </a:cubicBezTo>
                <a:cubicBezTo>
                  <a:pt x="3552752" y="216955"/>
                  <a:pt x="3904310" y="455946"/>
                  <a:pt x="4174474" y="500973"/>
                </a:cubicBezTo>
                <a:cubicBezTo>
                  <a:pt x="4444638" y="546000"/>
                  <a:pt x="4694020" y="471532"/>
                  <a:pt x="4943402" y="449018"/>
                </a:cubicBezTo>
                <a:cubicBezTo>
                  <a:pt x="5192784" y="426504"/>
                  <a:pt x="5599761" y="220418"/>
                  <a:pt x="5670765" y="365891"/>
                </a:cubicBezTo>
                <a:cubicBezTo>
                  <a:pt x="5741770" y="511364"/>
                  <a:pt x="5663838" y="1155600"/>
                  <a:pt x="5369429" y="1321855"/>
                </a:cubicBezTo>
                <a:cubicBezTo>
                  <a:pt x="5075020" y="1488110"/>
                  <a:pt x="4297434" y="1415373"/>
                  <a:pt x="3904311" y="1363418"/>
                </a:cubicBezTo>
                <a:cubicBezTo>
                  <a:pt x="3511188" y="1311464"/>
                  <a:pt x="3332811" y="1037837"/>
                  <a:pt x="3010693" y="1010128"/>
                </a:cubicBezTo>
                <a:cubicBezTo>
                  <a:pt x="2688575" y="982419"/>
                  <a:pt x="2267743" y="1228337"/>
                  <a:pt x="1971602" y="1197164"/>
                </a:cubicBezTo>
                <a:cubicBezTo>
                  <a:pt x="1675461" y="1165991"/>
                  <a:pt x="1554234" y="849068"/>
                  <a:pt x="1233847" y="823091"/>
                </a:cubicBezTo>
                <a:cubicBezTo>
                  <a:pt x="913461" y="797114"/>
                  <a:pt x="210342" y="1141746"/>
                  <a:pt x="49283" y="1041300"/>
                </a:cubicBezTo>
                <a:cubicBezTo>
                  <a:pt x="-111776" y="940855"/>
                  <a:pt x="161851" y="400527"/>
                  <a:pt x="298665" y="230809"/>
                </a:cubicBezTo>
                <a:close/>
              </a:path>
            </a:pathLst>
          </a:custGeom>
          <a:gradFill flip="none" rotWithShape="1">
            <a:gsLst>
              <a:gs pos="70000">
                <a:srgbClr val="0070C0">
                  <a:alpha val="10000"/>
                </a:srgbClr>
              </a:gs>
              <a:gs pos="33000">
                <a:srgbClr val="00B050">
                  <a:alpha val="10000"/>
                </a:srgbClr>
              </a:gs>
              <a:gs pos="0">
                <a:srgbClr val="FFC000">
                  <a:alpha val="10000"/>
                </a:srgbClr>
              </a:gs>
              <a:gs pos="100000">
                <a:srgbClr val="7030A0">
                  <a:alpha val="10000"/>
                </a:srgbClr>
              </a:gs>
            </a:gsLst>
            <a:lin ang="0" scaled="1"/>
            <a:tileRect/>
          </a:gradFill>
          <a:ln>
            <a:noFill/>
          </a:ln>
          <a:effectLst>
            <a:glow rad="381000">
              <a:schemeClr val="accent3">
                <a:satMod val="175000"/>
                <a:alpha val="10000"/>
              </a:schemeClr>
            </a:glow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3" name="Freeform: Shape 252">
            <a:extLst>
              <a:ext uri="{FF2B5EF4-FFF2-40B4-BE49-F238E27FC236}">
                <a16:creationId xmlns:a16="http://schemas.microsoft.com/office/drawing/2014/main" id="{F449F256-CD7E-49A9-A608-1E2F3EE74AE1}"/>
              </a:ext>
            </a:extLst>
          </p:cNvPr>
          <p:cNvSpPr/>
          <p:nvPr/>
        </p:nvSpPr>
        <p:spPr>
          <a:xfrm rot="262443" flipH="1">
            <a:off x="5481901" y="999482"/>
            <a:ext cx="3747882" cy="1308949"/>
          </a:xfrm>
          <a:custGeom>
            <a:avLst/>
            <a:gdLst>
              <a:gd name="connsiteX0" fmla="*/ 298665 w 5695305"/>
              <a:gd name="connsiteY0" fmla="*/ 230809 h 1424871"/>
              <a:gd name="connsiteX1" fmla="*/ 870165 w 5695305"/>
              <a:gd name="connsiteY1" fmla="*/ 22991 h 1424871"/>
              <a:gd name="connsiteX2" fmla="*/ 1368929 w 5695305"/>
              <a:gd name="connsiteY2" fmla="*/ 43773 h 1424871"/>
              <a:gd name="connsiteX3" fmla="*/ 2044338 w 5695305"/>
              <a:gd name="connsiteY3" fmla="*/ 365891 h 1424871"/>
              <a:gd name="connsiteX4" fmla="*/ 2792483 w 5695305"/>
              <a:gd name="connsiteY4" fmla="*/ 272373 h 1424871"/>
              <a:gd name="connsiteX5" fmla="*/ 3322420 w 5695305"/>
              <a:gd name="connsiteY5" fmla="*/ 178855 h 1424871"/>
              <a:gd name="connsiteX6" fmla="*/ 4174474 w 5695305"/>
              <a:gd name="connsiteY6" fmla="*/ 500973 h 1424871"/>
              <a:gd name="connsiteX7" fmla="*/ 4943402 w 5695305"/>
              <a:gd name="connsiteY7" fmla="*/ 449018 h 1424871"/>
              <a:gd name="connsiteX8" fmla="*/ 5670765 w 5695305"/>
              <a:gd name="connsiteY8" fmla="*/ 365891 h 1424871"/>
              <a:gd name="connsiteX9" fmla="*/ 5369429 w 5695305"/>
              <a:gd name="connsiteY9" fmla="*/ 1321855 h 1424871"/>
              <a:gd name="connsiteX10" fmla="*/ 3904311 w 5695305"/>
              <a:gd name="connsiteY10" fmla="*/ 1363418 h 1424871"/>
              <a:gd name="connsiteX11" fmla="*/ 3010693 w 5695305"/>
              <a:gd name="connsiteY11" fmla="*/ 1010128 h 1424871"/>
              <a:gd name="connsiteX12" fmla="*/ 1971602 w 5695305"/>
              <a:gd name="connsiteY12" fmla="*/ 1197164 h 1424871"/>
              <a:gd name="connsiteX13" fmla="*/ 1233847 w 5695305"/>
              <a:gd name="connsiteY13" fmla="*/ 823091 h 1424871"/>
              <a:gd name="connsiteX14" fmla="*/ 49283 w 5695305"/>
              <a:gd name="connsiteY14" fmla="*/ 1041300 h 1424871"/>
              <a:gd name="connsiteX15" fmla="*/ 298665 w 5695305"/>
              <a:gd name="connsiteY15" fmla="*/ 230809 h 14248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695305" h="1424871">
                <a:moveTo>
                  <a:pt x="298665" y="230809"/>
                </a:moveTo>
                <a:cubicBezTo>
                  <a:pt x="435479" y="61091"/>
                  <a:pt x="691788" y="54164"/>
                  <a:pt x="870165" y="22991"/>
                </a:cubicBezTo>
                <a:cubicBezTo>
                  <a:pt x="1048542" y="-8182"/>
                  <a:pt x="1173234" y="-13377"/>
                  <a:pt x="1368929" y="43773"/>
                </a:cubicBezTo>
                <a:cubicBezTo>
                  <a:pt x="1564625" y="100923"/>
                  <a:pt x="1807079" y="327791"/>
                  <a:pt x="2044338" y="365891"/>
                </a:cubicBezTo>
                <a:cubicBezTo>
                  <a:pt x="2281597" y="403991"/>
                  <a:pt x="2579469" y="303546"/>
                  <a:pt x="2792483" y="272373"/>
                </a:cubicBezTo>
                <a:cubicBezTo>
                  <a:pt x="3005497" y="241200"/>
                  <a:pt x="3092088" y="140755"/>
                  <a:pt x="3322420" y="178855"/>
                </a:cubicBezTo>
                <a:cubicBezTo>
                  <a:pt x="3552752" y="216955"/>
                  <a:pt x="3904310" y="455946"/>
                  <a:pt x="4174474" y="500973"/>
                </a:cubicBezTo>
                <a:cubicBezTo>
                  <a:pt x="4444638" y="546000"/>
                  <a:pt x="4694020" y="471532"/>
                  <a:pt x="4943402" y="449018"/>
                </a:cubicBezTo>
                <a:cubicBezTo>
                  <a:pt x="5192784" y="426504"/>
                  <a:pt x="5599761" y="220418"/>
                  <a:pt x="5670765" y="365891"/>
                </a:cubicBezTo>
                <a:cubicBezTo>
                  <a:pt x="5741770" y="511364"/>
                  <a:pt x="5663838" y="1155600"/>
                  <a:pt x="5369429" y="1321855"/>
                </a:cubicBezTo>
                <a:cubicBezTo>
                  <a:pt x="5075020" y="1488110"/>
                  <a:pt x="4297434" y="1415373"/>
                  <a:pt x="3904311" y="1363418"/>
                </a:cubicBezTo>
                <a:cubicBezTo>
                  <a:pt x="3511188" y="1311464"/>
                  <a:pt x="3332811" y="1037837"/>
                  <a:pt x="3010693" y="1010128"/>
                </a:cubicBezTo>
                <a:cubicBezTo>
                  <a:pt x="2688575" y="982419"/>
                  <a:pt x="2267743" y="1228337"/>
                  <a:pt x="1971602" y="1197164"/>
                </a:cubicBezTo>
                <a:cubicBezTo>
                  <a:pt x="1675461" y="1165991"/>
                  <a:pt x="1554234" y="849068"/>
                  <a:pt x="1233847" y="823091"/>
                </a:cubicBezTo>
                <a:cubicBezTo>
                  <a:pt x="913461" y="797114"/>
                  <a:pt x="210342" y="1141746"/>
                  <a:pt x="49283" y="1041300"/>
                </a:cubicBezTo>
                <a:cubicBezTo>
                  <a:pt x="-111776" y="940855"/>
                  <a:pt x="161851" y="400527"/>
                  <a:pt x="298665" y="230809"/>
                </a:cubicBezTo>
                <a:close/>
              </a:path>
            </a:pathLst>
          </a:custGeom>
          <a:gradFill flip="none" rotWithShape="1">
            <a:gsLst>
              <a:gs pos="100000">
                <a:srgbClr val="0070C0">
                  <a:alpha val="20000"/>
                </a:srgbClr>
              </a:gs>
              <a:gs pos="50000">
                <a:srgbClr val="00B050">
                  <a:alpha val="40000"/>
                </a:srgbClr>
              </a:gs>
              <a:gs pos="0">
                <a:srgbClr val="FFC000">
                  <a:alpha val="20000"/>
                </a:srgbClr>
              </a:gs>
            </a:gsLst>
            <a:lin ang="0" scaled="1"/>
            <a:tileRect/>
          </a:gradFill>
          <a:ln>
            <a:noFill/>
          </a:ln>
          <a:effectLst>
            <a:glow rad="381000">
              <a:schemeClr val="accent3">
                <a:satMod val="175000"/>
                <a:alpha val="10000"/>
              </a:schemeClr>
            </a:glow>
            <a:softEdge rad="63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4" name="TextBox 253">
            <a:extLst>
              <a:ext uri="{FF2B5EF4-FFF2-40B4-BE49-F238E27FC236}">
                <a16:creationId xmlns:a16="http://schemas.microsoft.com/office/drawing/2014/main" id="{0ABD1D4E-B188-4971-A381-3EE540C64AC0}"/>
              </a:ext>
            </a:extLst>
          </p:cNvPr>
          <p:cNvSpPr txBox="1"/>
          <p:nvPr/>
        </p:nvSpPr>
        <p:spPr>
          <a:xfrm>
            <a:off x="209759" y="2378370"/>
            <a:ext cx="524023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b="1">
                <a:solidFill>
                  <a:schemeClr val="bg1"/>
                </a:solidFill>
                <a:latin typeface="Montserrat" panose="02000505000000020004" pitchFamily="2" charset="0"/>
              </a:rPr>
              <a:t>ATMOSPHERE</a:t>
            </a:r>
          </a:p>
        </p:txBody>
      </p:sp>
      <p:sp>
        <p:nvSpPr>
          <p:cNvPr id="255" name="TextBox 254">
            <a:extLst>
              <a:ext uri="{FF2B5EF4-FFF2-40B4-BE49-F238E27FC236}">
                <a16:creationId xmlns:a16="http://schemas.microsoft.com/office/drawing/2014/main" id="{EFAEEF3B-AE86-4E2F-9A13-F03E00615CD9}"/>
              </a:ext>
            </a:extLst>
          </p:cNvPr>
          <p:cNvSpPr txBox="1"/>
          <p:nvPr/>
        </p:nvSpPr>
        <p:spPr>
          <a:xfrm>
            <a:off x="209759" y="3521754"/>
            <a:ext cx="524023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b="1">
                <a:solidFill>
                  <a:schemeClr val="bg1"/>
                </a:solidFill>
                <a:latin typeface="Montserrat" panose="02000505000000020004" pitchFamily="2" charset="0"/>
              </a:rPr>
              <a:t>LAYER</a:t>
            </a:r>
          </a:p>
        </p:txBody>
      </p:sp>
    </p:spTree>
    <p:extLst>
      <p:ext uri="{BB962C8B-B14F-4D97-AF65-F5344CB8AC3E}">
        <p14:creationId xmlns:p14="http://schemas.microsoft.com/office/powerpoint/2010/main" val="4223438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9C4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4" name="Graphic 303" descr="Cloud">
            <a:extLst>
              <a:ext uri="{FF2B5EF4-FFF2-40B4-BE49-F238E27FC236}">
                <a16:creationId xmlns:a16="http://schemas.microsoft.com/office/drawing/2014/main" id="{3B4C6A68-F69E-40B6-AA57-9622CD22D08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829784" y="4381512"/>
            <a:ext cx="1671141" cy="1671141"/>
          </a:xfrm>
          <a:prstGeom prst="rect">
            <a:avLst/>
          </a:prstGeom>
        </p:spPr>
      </p:pic>
      <p:pic>
        <p:nvPicPr>
          <p:cNvPr id="305" name="Graphic 304" descr="Cloud">
            <a:extLst>
              <a:ext uri="{FF2B5EF4-FFF2-40B4-BE49-F238E27FC236}">
                <a16:creationId xmlns:a16="http://schemas.microsoft.com/office/drawing/2014/main" id="{C527504B-E849-4FF0-AC5D-78214982BD6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9457314" flipH="1">
            <a:off x="8218419" y="4001657"/>
            <a:ext cx="1671141" cy="1671141"/>
          </a:xfrm>
          <a:prstGeom prst="rect">
            <a:avLst/>
          </a:prstGeom>
        </p:spPr>
      </p:pic>
      <p:sp>
        <p:nvSpPr>
          <p:cNvPr id="163" name="Freeform: Shape 162">
            <a:extLst>
              <a:ext uri="{FF2B5EF4-FFF2-40B4-BE49-F238E27FC236}">
                <a16:creationId xmlns:a16="http://schemas.microsoft.com/office/drawing/2014/main" id="{8B6FEC17-4158-48E9-997A-A1976DC7D5AD}"/>
              </a:ext>
            </a:extLst>
          </p:cNvPr>
          <p:cNvSpPr/>
          <p:nvPr/>
        </p:nvSpPr>
        <p:spPr>
          <a:xfrm>
            <a:off x="-815839" y="5217142"/>
            <a:ext cx="10969696" cy="573744"/>
          </a:xfrm>
          <a:custGeom>
            <a:avLst/>
            <a:gdLst>
              <a:gd name="connsiteX0" fmla="*/ 649584 w 10969696"/>
              <a:gd name="connsiteY0" fmla="*/ 435513 h 573744"/>
              <a:gd name="connsiteX1" fmla="*/ 992484 w 10969696"/>
              <a:gd name="connsiteY1" fmla="*/ 341994 h 573744"/>
              <a:gd name="connsiteX2" fmla="*/ 1418512 w 10969696"/>
              <a:gd name="connsiteY2" fmla="*/ 331603 h 573744"/>
              <a:gd name="connsiteX3" fmla="*/ 2270566 w 10969696"/>
              <a:gd name="connsiteY3" fmla="*/ 217303 h 573744"/>
              <a:gd name="connsiteX4" fmla="*/ 2634248 w 10969696"/>
              <a:gd name="connsiteY4" fmla="*/ 206913 h 573744"/>
              <a:gd name="connsiteX5" fmla="*/ 3372003 w 10969696"/>
              <a:gd name="connsiteY5" fmla="*/ 113394 h 573744"/>
              <a:gd name="connsiteX6" fmla="*/ 3735684 w 10969696"/>
              <a:gd name="connsiteY6" fmla="*/ 103003 h 573744"/>
              <a:gd name="connsiteX7" fmla="*/ 3933112 w 10969696"/>
              <a:gd name="connsiteY7" fmla="*/ 258867 h 573744"/>
              <a:gd name="connsiteX8" fmla="*/ 4068194 w 10969696"/>
              <a:gd name="connsiteY8" fmla="*/ 341994 h 573744"/>
              <a:gd name="connsiteX9" fmla="*/ 4286403 w 10969696"/>
              <a:gd name="connsiteY9" fmla="*/ 383558 h 573744"/>
              <a:gd name="connsiteX10" fmla="*/ 4556566 w 10969696"/>
              <a:gd name="connsiteY10" fmla="*/ 404340 h 573744"/>
              <a:gd name="connsiteX11" fmla="*/ 5148848 w 10969696"/>
              <a:gd name="connsiteY11" fmla="*/ 383558 h 573744"/>
              <a:gd name="connsiteX12" fmla="*/ 5263148 w 10969696"/>
              <a:gd name="connsiteY12" fmla="*/ 300431 h 573744"/>
              <a:gd name="connsiteX13" fmla="*/ 5315103 w 10969696"/>
              <a:gd name="connsiteY13" fmla="*/ 248476 h 573744"/>
              <a:gd name="connsiteX14" fmla="*/ 5554094 w 10969696"/>
              <a:gd name="connsiteY14" fmla="*/ 186131 h 573744"/>
              <a:gd name="connsiteX15" fmla="*/ 5876212 w 10969696"/>
              <a:gd name="connsiteY15" fmla="*/ 186131 h 573744"/>
              <a:gd name="connsiteX16" fmla="*/ 6271066 w 10969696"/>
              <a:gd name="connsiteY16" fmla="*/ 227694 h 573744"/>
              <a:gd name="connsiteX17" fmla="*/ 6447712 w 10969696"/>
              <a:gd name="connsiteY17" fmla="*/ 331603 h 573744"/>
              <a:gd name="connsiteX18" fmla="*/ 6676312 w 10969696"/>
              <a:gd name="connsiteY18" fmla="*/ 383558 h 573744"/>
              <a:gd name="connsiteX19" fmla="*/ 6977648 w 10969696"/>
              <a:gd name="connsiteY19" fmla="*/ 341994 h 573744"/>
              <a:gd name="connsiteX20" fmla="*/ 7372503 w 10969696"/>
              <a:gd name="connsiteY20" fmla="*/ 300431 h 573744"/>
              <a:gd name="connsiteX21" fmla="*/ 7684230 w 10969696"/>
              <a:gd name="connsiteY21" fmla="*/ 310822 h 573744"/>
              <a:gd name="connsiteX22" fmla="*/ 8079084 w 10969696"/>
              <a:gd name="connsiteY22" fmla="*/ 362776 h 573744"/>
              <a:gd name="connsiteX23" fmla="*/ 8536284 w 10969696"/>
              <a:gd name="connsiteY23" fmla="*/ 373167 h 573744"/>
              <a:gd name="connsiteX24" fmla="*/ 9024657 w 10969696"/>
              <a:gd name="connsiteY24" fmla="*/ 248476 h 573744"/>
              <a:gd name="connsiteX25" fmla="*/ 9429903 w 10969696"/>
              <a:gd name="connsiteY25" fmla="*/ 175740 h 573744"/>
              <a:gd name="connsiteX26" fmla="*/ 9752021 w 10969696"/>
              <a:gd name="connsiteY26" fmla="*/ 134176 h 573744"/>
              <a:gd name="connsiteX27" fmla="*/ 10011794 w 10969696"/>
              <a:gd name="connsiteY27" fmla="*/ 40658 h 573744"/>
              <a:gd name="connsiteX28" fmla="*/ 10313130 w 10969696"/>
              <a:gd name="connsiteY28" fmla="*/ 40658 h 573744"/>
              <a:gd name="connsiteX29" fmla="*/ 10230003 w 10969696"/>
              <a:gd name="connsiteY29" fmla="*/ 539422 h 573744"/>
              <a:gd name="connsiteX30" fmla="*/ 743103 w 10969696"/>
              <a:gd name="connsiteY30" fmla="*/ 518640 h 573744"/>
              <a:gd name="connsiteX31" fmla="*/ 649584 w 10969696"/>
              <a:gd name="connsiteY31" fmla="*/ 435513 h 573744"/>
              <a:gd name="connsiteX0" fmla="*/ 649584 w 10969696"/>
              <a:gd name="connsiteY0" fmla="*/ 435513 h 573744"/>
              <a:gd name="connsiteX1" fmla="*/ 992484 w 10969696"/>
              <a:gd name="connsiteY1" fmla="*/ 341994 h 573744"/>
              <a:gd name="connsiteX2" fmla="*/ 1418512 w 10969696"/>
              <a:gd name="connsiteY2" fmla="*/ 331603 h 573744"/>
              <a:gd name="connsiteX3" fmla="*/ 2270566 w 10969696"/>
              <a:gd name="connsiteY3" fmla="*/ 217303 h 573744"/>
              <a:gd name="connsiteX4" fmla="*/ 2634248 w 10969696"/>
              <a:gd name="connsiteY4" fmla="*/ 206913 h 573744"/>
              <a:gd name="connsiteX5" fmla="*/ 3372003 w 10969696"/>
              <a:gd name="connsiteY5" fmla="*/ 113394 h 573744"/>
              <a:gd name="connsiteX6" fmla="*/ 3735684 w 10969696"/>
              <a:gd name="connsiteY6" fmla="*/ 103003 h 573744"/>
              <a:gd name="connsiteX7" fmla="*/ 3933112 w 10969696"/>
              <a:gd name="connsiteY7" fmla="*/ 258867 h 573744"/>
              <a:gd name="connsiteX8" fmla="*/ 4068194 w 10969696"/>
              <a:gd name="connsiteY8" fmla="*/ 341994 h 573744"/>
              <a:gd name="connsiteX9" fmla="*/ 4286403 w 10969696"/>
              <a:gd name="connsiteY9" fmla="*/ 383558 h 573744"/>
              <a:gd name="connsiteX10" fmla="*/ 4621112 w 10969696"/>
              <a:gd name="connsiteY10" fmla="*/ 221460 h 573744"/>
              <a:gd name="connsiteX11" fmla="*/ 5148848 w 10969696"/>
              <a:gd name="connsiteY11" fmla="*/ 383558 h 573744"/>
              <a:gd name="connsiteX12" fmla="*/ 5263148 w 10969696"/>
              <a:gd name="connsiteY12" fmla="*/ 300431 h 573744"/>
              <a:gd name="connsiteX13" fmla="*/ 5315103 w 10969696"/>
              <a:gd name="connsiteY13" fmla="*/ 248476 h 573744"/>
              <a:gd name="connsiteX14" fmla="*/ 5554094 w 10969696"/>
              <a:gd name="connsiteY14" fmla="*/ 186131 h 573744"/>
              <a:gd name="connsiteX15" fmla="*/ 5876212 w 10969696"/>
              <a:gd name="connsiteY15" fmla="*/ 186131 h 573744"/>
              <a:gd name="connsiteX16" fmla="*/ 6271066 w 10969696"/>
              <a:gd name="connsiteY16" fmla="*/ 227694 h 573744"/>
              <a:gd name="connsiteX17" fmla="*/ 6447712 w 10969696"/>
              <a:gd name="connsiteY17" fmla="*/ 331603 h 573744"/>
              <a:gd name="connsiteX18" fmla="*/ 6676312 w 10969696"/>
              <a:gd name="connsiteY18" fmla="*/ 383558 h 573744"/>
              <a:gd name="connsiteX19" fmla="*/ 6977648 w 10969696"/>
              <a:gd name="connsiteY19" fmla="*/ 341994 h 573744"/>
              <a:gd name="connsiteX20" fmla="*/ 7372503 w 10969696"/>
              <a:gd name="connsiteY20" fmla="*/ 300431 h 573744"/>
              <a:gd name="connsiteX21" fmla="*/ 7684230 w 10969696"/>
              <a:gd name="connsiteY21" fmla="*/ 310822 h 573744"/>
              <a:gd name="connsiteX22" fmla="*/ 8079084 w 10969696"/>
              <a:gd name="connsiteY22" fmla="*/ 362776 h 573744"/>
              <a:gd name="connsiteX23" fmla="*/ 8536284 w 10969696"/>
              <a:gd name="connsiteY23" fmla="*/ 373167 h 573744"/>
              <a:gd name="connsiteX24" fmla="*/ 9024657 w 10969696"/>
              <a:gd name="connsiteY24" fmla="*/ 248476 h 573744"/>
              <a:gd name="connsiteX25" fmla="*/ 9429903 w 10969696"/>
              <a:gd name="connsiteY25" fmla="*/ 175740 h 573744"/>
              <a:gd name="connsiteX26" fmla="*/ 9752021 w 10969696"/>
              <a:gd name="connsiteY26" fmla="*/ 134176 h 573744"/>
              <a:gd name="connsiteX27" fmla="*/ 10011794 w 10969696"/>
              <a:gd name="connsiteY27" fmla="*/ 40658 h 573744"/>
              <a:gd name="connsiteX28" fmla="*/ 10313130 w 10969696"/>
              <a:gd name="connsiteY28" fmla="*/ 40658 h 573744"/>
              <a:gd name="connsiteX29" fmla="*/ 10230003 w 10969696"/>
              <a:gd name="connsiteY29" fmla="*/ 539422 h 573744"/>
              <a:gd name="connsiteX30" fmla="*/ 743103 w 10969696"/>
              <a:gd name="connsiteY30" fmla="*/ 518640 h 573744"/>
              <a:gd name="connsiteX31" fmla="*/ 649584 w 10969696"/>
              <a:gd name="connsiteY31" fmla="*/ 435513 h 573744"/>
              <a:gd name="connsiteX0" fmla="*/ 649584 w 10969696"/>
              <a:gd name="connsiteY0" fmla="*/ 435513 h 573744"/>
              <a:gd name="connsiteX1" fmla="*/ 992484 w 10969696"/>
              <a:gd name="connsiteY1" fmla="*/ 341994 h 573744"/>
              <a:gd name="connsiteX2" fmla="*/ 1418512 w 10969696"/>
              <a:gd name="connsiteY2" fmla="*/ 331603 h 573744"/>
              <a:gd name="connsiteX3" fmla="*/ 2270566 w 10969696"/>
              <a:gd name="connsiteY3" fmla="*/ 217303 h 573744"/>
              <a:gd name="connsiteX4" fmla="*/ 2634248 w 10969696"/>
              <a:gd name="connsiteY4" fmla="*/ 206913 h 573744"/>
              <a:gd name="connsiteX5" fmla="*/ 3372003 w 10969696"/>
              <a:gd name="connsiteY5" fmla="*/ 113394 h 573744"/>
              <a:gd name="connsiteX6" fmla="*/ 3735684 w 10969696"/>
              <a:gd name="connsiteY6" fmla="*/ 103003 h 573744"/>
              <a:gd name="connsiteX7" fmla="*/ 3933112 w 10969696"/>
              <a:gd name="connsiteY7" fmla="*/ 258867 h 573744"/>
              <a:gd name="connsiteX8" fmla="*/ 4068194 w 10969696"/>
              <a:gd name="connsiteY8" fmla="*/ 341994 h 573744"/>
              <a:gd name="connsiteX9" fmla="*/ 4286403 w 10969696"/>
              <a:gd name="connsiteY9" fmla="*/ 383558 h 573744"/>
              <a:gd name="connsiteX10" fmla="*/ 4621112 w 10969696"/>
              <a:gd name="connsiteY10" fmla="*/ 221460 h 573744"/>
              <a:gd name="connsiteX11" fmla="*/ 5148848 w 10969696"/>
              <a:gd name="connsiteY11" fmla="*/ 383558 h 573744"/>
              <a:gd name="connsiteX12" fmla="*/ 5263148 w 10969696"/>
              <a:gd name="connsiteY12" fmla="*/ 300431 h 573744"/>
              <a:gd name="connsiteX13" fmla="*/ 5315103 w 10969696"/>
              <a:gd name="connsiteY13" fmla="*/ 248476 h 573744"/>
              <a:gd name="connsiteX14" fmla="*/ 5554094 w 10969696"/>
              <a:gd name="connsiteY14" fmla="*/ 186131 h 573744"/>
              <a:gd name="connsiteX15" fmla="*/ 5940757 w 10969696"/>
              <a:gd name="connsiteY15" fmla="*/ 14008 h 573744"/>
              <a:gd name="connsiteX16" fmla="*/ 6271066 w 10969696"/>
              <a:gd name="connsiteY16" fmla="*/ 227694 h 573744"/>
              <a:gd name="connsiteX17" fmla="*/ 6447712 w 10969696"/>
              <a:gd name="connsiteY17" fmla="*/ 331603 h 573744"/>
              <a:gd name="connsiteX18" fmla="*/ 6676312 w 10969696"/>
              <a:gd name="connsiteY18" fmla="*/ 383558 h 573744"/>
              <a:gd name="connsiteX19" fmla="*/ 6977648 w 10969696"/>
              <a:gd name="connsiteY19" fmla="*/ 341994 h 573744"/>
              <a:gd name="connsiteX20" fmla="*/ 7372503 w 10969696"/>
              <a:gd name="connsiteY20" fmla="*/ 300431 h 573744"/>
              <a:gd name="connsiteX21" fmla="*/ 7684230 w 10969696"/>
              <a:gd name="connsiteY21" fmla="*/ 310822 h 573744"/>
              <a:gd name="connsiteX22" fmla="*/ 8079084 w 10969696"/>
              <a:gd name="connsiteY22" fmla="*/ 362776 h 573744"/>
              <a:gd name="connsiteX23" fmla="*/ 8536284 w 10969696"/>
              <a:gd name="connsiteY23" fmla="*/ 373167 h 573744"/>
              <a:gd name="connsiteX24" fmla="*/ 9024657 w 10969696"/>
              <a:gd name="connsiteY24" fmla="*/ 248476 h 573744"/>
              <a:gd name="connsiteX25" fmla="*/ 9429903 w 10969696"/>
              <a:gd name="connsiteY25" fmla="*/ 175740 h 573744"/>
              <a:gd name="connsiteX26" fmla="*/ 9752021 w 10969696"/>
              <a:gd name="connsiteY26" fmla="*/ 134176 h 573744"/>
              <a:gd name="connsiteX27" fmla="*/ 10011794 w 10969696"/>
              <a:gd name="connsiteY27" fmla="*/ 40658 h 573744"/>
              <a:gd name="connsiteX28" fmla="*/ 10313130 w 10969696"/>
              <a:gd name="connsiteY28" fmla="*/ 40658 h 573744"/>
              <a:gd name="connsiteX29" fmla="*/ 10230003 w 10969696"/>
              <a:gd name="connsiteY29" fmla="*/ 539422 h 573744"/>
              <a:gd name="connsiteX30" fmla="*/ 743103 w 10969696"/>
              <a:gd name="connsiteY30" fmla="*/ 518640 h 573744"/>
              <a:gd name="connsiteX31" fmla="*/ 649584 w 10969696"/>
              <a:gd name="connsiteY31" fmla="*/ 435513 h 573744"/>
              <a:gd name="connsiteX0" fmla="*/ 649584 w 10969696"/>
              <a:gd name="connsiteY0" fmla="*/ 435513 h 573744"/>
              <a:gd name="connsiteX1" fmla="*/ 992484 w 10969696"/>
              <a:gd name="connsiteY1" fmla="*/ 341994 h 573744"/>
              <a:gd name="connsiteX2" fmla="*/ 1418512 w 10969696"/>
              <a:gd name="connsiteY2" fmla="*/ 331603 h 573744"/>
              <a:gd name="connsiteX3" fmla="*/ 2270566 w 10969696"/>
              <a:gd name="connsiteY3" fmla="*/ 217303 h 573744"/>
              <a:gd name="connsiteX4" fmla="*/ 2634248 w 10969696"/>
              <a:gd name="connsiteY4" fmla="*/ 206913 h 573744"/>
              <a:gd name="connsiteX5" fmla="*/ 3372003 w 10969696"/>
              <a:gd name="connsiteY5" fmla="*/ 113394 h 573744"/>
              <a:gd name="connsiteX6" fmla="*/ 3735684 w 10969696"/>
              <a:gd name="connsiteY6" fmla="*/ 103003 h 573744"/>
              <a:gd name="connsiteX7" fmla="*/ 3933112 w 10969696"/>
              <a:gd name="connsiteY7" fmla="*/ 258867 h 573744"/>
              <a:gd name="connsiteX8" fmla="*/ 4068194 w 10969696"/>
              <a:gd name="connsiteY8" fmla="*/ 341994 h 573744"/>
              <a:gd name="connsiteX9" fmla="*/ 4286403 w 10969696"/>
              <a:gd name="connsiteY9" fmla="*/ 383558 h 573744"/>
              <a:gd name="connsiteX10" fmla="*/ 4621112 w 10969696"/>
              <a:gd name="connsiteY10" fmla="*/ 221460 h 573744"/>
              <a:gd name="connsiteX11" fmla="*/ 5148848 w 10969696"/>
              <a:gd name="connsiteY11" fmla="*/ 383558 h 573744"/>
              <a:gd name="connsiteX12" fmla="*/ 5263148 w 10969696"/>
              <a:gd name="connsiteY12" fmla="*/ 300431 h 573744"/>
              <a:gd name="connsiteX13" fmla="*/ 5315103 w 10969696"/>
              <a:gd name="connsiteY13" fmla="*/ 248476 h 573744"/>
              <a:gd name="connsiteX14" fmla="*/ 5554094 w 10969696"/>
              <a:gd name="connsiteY14" fmla="*/ 186131 h 573744"/>
              <a:gd name="connsiteX15" fmla="*/ 5940757 w 10969696"/>
              <a:gd name="connsiteY15" fmla="*/ 14008 h 573744"/>
              <a:gd name="connsiteX16" fmla="*/ 6271066 w 10969696"/>
              <a:gd name="connsiteY16" fmla="*/ 227694 h 573744"/>
              <a:gd name="connsiteX17" fmla="*/ 6447712 w 10969696"/>
              <a:gd name="connsiteY17" fmla="*/ 331603 h 573744"/>
              <a:gd name="connsiteX18" fmla="*/ 6676312 w 10969696"/>
              <a:gd name="connsiteY18" fmla="*/ 383558 h 573744"/>
              <a:gd name="connsiteX19" fmla="*/ 6977648 w 10969696"/>
              <a:gd name="connsiteY19" fmla="*/ 341994 h 573744"/>
              <a:gd name="connsiteX20" fmla="*/ 7372503 w 10969696"/>
              <a:gd name="connsiteY20" fmla="*/ 300431 h 573744"/>
              <a:gd name="connsiteX21" fmla="*/ 7684230 w 10969696"/>
              <a:gd name="connsiteY21" fmla="*/ 310822 h 573744"/>
              <a:gd name="connsiteX22" fmla="*/ 8079084 w 10969696"/>
              <a:gd name="connsiteY22" fmla="*/ 362776 h 573744"/>
              <a:gd name="connsiteX23" fmla="*/ 8536284 w 10969696"/>
              <a:gd name="connsiteY23" fmla="*/ 373167 h 573744"/>
              <a:gd name="connsiteX24" fmla="*/ 9024657 w 10969696"/>
              <a:gd name="connsiteY24" fmla="*/ 248476 h 573744"/>
              <a:gd name="connsiteX25" fmla="*/ 9429903 w 10969696"/>
              <a:gd name="connsiteY25" fmla="*/ 175740 h 573744"/>
              <a:gd name="connsiteX26" fmla="*/ 9752021 w 10969696"/>
              <a:gd name="connsiteY26" fmla="*/ 134176 h 573744"/>
              <a:gd name="connsiteX27" fmla="*/ 10011794 w 10969696"/>
              <a:gd name="connsiteY27" fmla="*/ 40658 h 573744"/>
              <a:gd name="connsiteX28" fmla="*/ 10313130 w 10969696"/>
              <a:gd name="connsiteY28" fmla="*/ 40658 h 573744"/>
              <a:gd name="connsiteX29" fmla="*/ 10230003 w 10969696"/>
              <a:gd name="connsiteY29" fmla="*/ 539422 h 573744"/>
              <a:gd name="connsiteX30" fmla="*/ 743103 w 10969696"/>
              <a:gd name="connsiteY30" fmla="*/ 518640 h 573744"/>
              <a:gd name="connsiteX31" fmla="*/ 649584 w 10969696"/>
              <a:gd name="connsiteY31" fmla="*/ 435513 h 573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10969696" h="573744">
                <a:moveTo>
                  <a:pt x="649584" y="435513"/>
                </a:moveTo>
                <a:cubicBezTo>
                  <a:pt x="691147" y="406072"/>
                  <a:pt x="864329" y="359312"/>
                  <a:pt x="992484" y="341994"/>
                </a:cubicBezTo>
                <a:cubicBezTo>
                  <a:pt x="1120639" y="324676"/>
                  <a:pt x="1205498" y="352385"/>
                  <a:pt x="1418512" y="331603"/>
                </a:cubicBezTo>
                <a:cubicBezTo>
                  <a:pt x="1631526" y="310821"/>
                  <a:pt x="2067943" y="238085"/>
                  <a:pt x="2270566" y="217303"/>
                </a:cubicBezTo>
                <a:cubicBezTo>
                  <a:pt x="2473189" y="196521"/>
                  <a:pt x="2450675" y="224231"/>
                  <a:pt x="2634248" y="206913"/>
                </a:cubicBezTo>
                <a:cubicBezTo>
                  <a:pt x="2817821" y="189595"/>
                  <a:pt x="3188430" y="130712"/>
                  <a:pt x="3372003" y="113394"/>
                </a:cubicBezTo>
                <a:cubicBezTo>
                  <a:pt x="3555576" y="96076"/>
                  <a:pt x="3642166" y="78758"/>
                  <a:pt x="3735684" y="103003"/>
                </a:cubicBezTo>
                <a:cubicBezTo>
                  <a:pt x="3829202" y="127248"/>
                  <a:pt x="3877694" y="219035"/>
                  <a:pt x="3933112" y="258867"/>
                </a:cubicBezTo>
                <a:cubicBezTo>
                  <a:pt x="3988530" y="298699"/>
                  <a:pt x="4009312" y="321212"/>
                  <a:pt x="4068194" y="341994"/>
                </a:cubicBezTo>
                <a:cubicBezTo>
                  <a:pt x="4127076" y="362776"/>
                  <a:pt x="4194250" y="403647"/>
                  <a:pt x="4286403" y="383558"/>
                </a:cubicBezTo>
                <a:cubicBezTo>
                  <a:pt x="4378556" y="363469"/>
                  <a:pt x="4477371" y="221460"/>
                  <a:pt x="4621112" y="221460"/>
                </a:cubicBezTo>
                <a:cubicBezTo>
                  <a:pt x="4764853" y="221460"/>
                  <a:pt x="5041842" y="370396"/>
                  <a:pt x="5148848" y="383558"/>
                </a:cubicBezTo>
                <a:cubicBezTo>
                  <a:pt x="5255854" y="396720"/>
                  <a:pt x="5235439" y="322945"/>
                  <a:pt x="5263148" y="300431"/>
                </a:cubicBezTo>
                <a:cubicBezTo>
                  <a:pt x="5290857" y="277917"/>
                  <a:pt x="5266612" y="267526"/>
                  <a:pt x="5315103" y="248476"/>
                </a:cubicBezTo>
                <a:cubicBezTo>
                  <a:pt x="5363594" y="229426"/>
                  <a:pt x="5449818" y="225209"/>
                  <a:pt x="5554094" y="186131"/>
                </a:cubicBezTo>
                <a:cubicBezTo>
                  <a:pt x="5658370" y="147053"/>
                  <a:pt x="5821262" y="7081"/>
                  <a:pt x="5940757" y="14008"/>
                </a:cubicBezTo>
                <a:cubicBezTo>
                  <a:pt x="6060252" y="20935"/>
                  <a:pt x="6186574" y="174762"/>
                  <a:pt x="6271066" y="227694"/>
                </a:cubicBezTo>
                <a:cubicBezTo>
                  <a:pt x="6355558" y="280626"/>
                  <a:pt x="6380171" y="305626"/>
                  <a:pt x="6447712" y="331603"/>
                </a:cubicBezTo>
                <a:cubicBezTo>
                  <a:pt x="6515253" y="357580"/>
                  <a:pt x="6587989" y="381826"/>
                  <a:pt x="6676312" y="383558"/>
                </a:cubicBezTo>
                <a:cubicBezTo>
                  <a:pt x="6764635" y="385290"/>
                  <a:pt x="6861616" y="355848"/>
                  <a:pt x="6977648" y="341994"/>
                </a:cubicBezTo>
                <a:cubicBezTo>
                  <a:pt x="7093680" y="328140"/>
                  <a:pt x="7254739" y="305626"/>
                  <a:pt x="7372503" y="300431"/>
                </a:cubicBezTo>
                <a:cubicBezTo>
                  <a:pt x="7490267" y="295236"/>
                  <a:pt x="7566466" y="300431"/>
                  <a:pt x="7684230" y="310822"/>
                </a:cubicBezTo>
                <a:cubicBezTo>
                  <a:pt x="7801994" y="321213"/>
                  <a:pt x="7937075" y="352385"/>
                  <a:pt x="8079084" y="362776"/>
                </a:cubicBezTo>
                <a:cubicBezTo>
                  <a:pt x="8221093" y="373167"/>
                  <a:pt x="8378689" y="392217"/>
                  <a:pt x="8536284" y="373167"/>
                </a:cubicBezTo>
                <a:cubicBezTo>
                  <a:pt x="8693880" y="354117"/>
                  <a:pt x="8875721" y="281380"/>
                  <a:pt x="9024657" y="248476"/>
                </a:cubicBezTo>
                <a:cubicBezTo>
                  <a:pt x="9173593" y="215572"/>
                  <a:pt x="9308676" y="194790"/>
                  <a:pt x="9429903" y="175740"/>
                </a:cubicBezTo>
                <a:cubicBezTo>
                  <a:pt x="9551130" y="156690"/>
                  <a:pt x="9655039" y="156690"/>
                  <a:pt x="9752021" y="134176"/>
                </a:cubicBezTo>
                <a:cubicBezTo>
                  <a:pt x="9849003" y="111662"/>
                  <a:pt x="9918276" y="56244"/>
                  <a:pt x="10011794" y="40658"/>
                </a:cubicBezTo>
                <a:cubicBezTo>
                  <a:pt x="10105312" y="25072"/>
                  <a:pt x="10276762" y="-42469"/>
                  <a:pt x="10313130" y="40658"/>
                </a:cubicBezTo>
                <a:cubicBezTo>
                  <a:pt x="10349498" y="123785"/>
                  <a:pt x="11825007" y="459758"/>
                  <a:pt x="10230003" y="539422"/>
                </a:cubicBezTo>
                <a:cubicBezTo>
                  <a:pt x="8968486" y="619086"/>
                  <a:pt x="2336376" y="537690"/>
                  <a:pt x="743103" y="518640"/>
                </a:cubicBezTo>
                <a:cubicBezTo>
                  <a:pt x="-850170" y="499590"/>
                  <a:pt x="608021" y="464954"/>
                  <a:pt x="649584" y="435513"/>
                </a:cubicBezTo>
                <a:close/>
              </a:path>
            </a:pathLst>
          </a:custGeom>
          <a:gradFill>
            <a:gsLst>
              <a:gs pos="0">
                <a:srgbClr val="89C4F4"/>
              </a:gs>
              <a:gs pos="68000">
                <a:srgbClr val="3A539B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4" name="Rectangle 163">
            <a:extLst>
              <a:ext uri="{FF2B5EF4-FFF2-40B4-BE49-F238E27FC236}">
                <a16:creationId xmlns:a16="http://schemas.microsoft.com/office/drawing/2014/main" id="{20A6E73F-321B-4158-9943-165DCA21EFC5}"/>
              </a:ext>
            </a:extLst>
          </p:cNvPr>
          <p:cNvSpPr/>
          <p:nvPr/>
        </p:nvSpPr>
        <p:spPr>
          <a:xfrm>
            <a:off x="0" y="5652509"/>
            <a:ext cx="9144000" cy="1205491"/>
          </a:xfrm>
          <a:prstGeom prst="rect">
            <a:avLst/>
          </a:prstGeom>
          <a:solidFill>
            <a:srgbClr val="2ECC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65" name="Group 164">
            <a:extLst>
              <a:ext uri="{FF2B5EF4-FFF2-40B4-BE49-F238E27FC236}">
                <a16:creationId xmlns:a16="http://schemas.microsoft.com/office/drawing/2014/main" id="{121E437D-23FF-4549-8DDD-0BE249D1FB98}"/>
              </a:ext>
            </a:extLst>
          </p:cNvPr>
          <p:cNvGrpSpPr/>
          <p:nvPr/>
        </p:nvGrpSpPr>
        <p:grpSpPr>
          <a:xfrm flipH="1">
            <a:off x="778686" y="5195019"/>
            <a:ext cx="833117" cy="1407865"/>
            <a:chOff x="2820309" y="378736"/>
            <a:chExt cx="3654564" cy="6175768"/>
          </a:xfrm>
        </p:grpSpPr>
        <p:sp>
          <p:nvSpPr>
            <p:cNvPr id="166" name="Oval 165">
              <a:extLst>
                <a:ext uri="{FF2B5EF4-FFF2-40B4-BE49-F238E27FC236}">
                  <a16:creationId xmlns:a16="http://schemas.microsoft.com/office/drawing/2014/main" id="{21ECD699-3588-4668-BC01-76F456CEA060}"/>
                </a:ext>
              </a:extLst>
            </p:cNvPr>
            <p:cNvSpPr/>
            <p:nvPr/>
          </p:nvSpPr>
          <p:spPr>
            <a:xfrm>
              <a:off x="3007972" y="6213531"/>
              <a:ext cx="2917599" cy="340973"/>
            </a:xfrm>
            <a:prstGeom prst="ellipse">
              <a:avLst/>
            </a:prstGeom>
            <a:solidFill>
              <a:schemeClr val="tx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67" name="Group 166">
              <a:extLst>
                <a:ext uri="{FF2B5EF4-FFF2-40B4-BE49-F238E27FC236}">
                  <a16:creationId xmlns:a16="http://schemas.microsoft.com/office/drawing/2014/main" id="{C5B960AD-653A-419E-81ED-208BEFA6E959}"/>
                </a:ext>
              </a:extLst>
            </p:cNvPr>
            <p:cNvGrpSpPr/>
            <p:nvPr/>
          </p:nvGrpSpPr>
          <p:grpSpPr>
            <a:xfrm>
              <a:off x="2820309" y="378736"/>
              <a:ext cx="3654564" cy="6005282"/>
              <a:chOff x="2820309" y="378736"/>
              <a:chExt cx="3654564" cy="6005282"/>
            </a:xfrm>
          </p:grpSpPr>
          <p:sp>
            <p:nvSpPr>
              <p:cNvPr id="168" name="Oval 167">
                <a:extLst>
                  <a:ext uri="{FF2B5EF4-FFF2-40B4-BE49-F238E27FC236}">
                    <a16:creationId xmlns:a16="http://schemas.microsoft.com/office/drawing/2014/main" id="{5FC75939-304E-419F-9CD0-8B93A946DF5A}"/>
                  </a:ext>
                </a:extLst>
              </p:cNvPr>
              <p:cNvSpPr/>
              <p:nvPr/>
            </p:nvSpPr>
            <p:spPr>
              <a:xfrm>
                <a:off x="3147673" y="871875"/>
                <a:ext cx="2892653" cy="2892653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9" name="Oval 168">
                <a:extLst>
                  <a:ext uri="{FF2B5EF4-FFF2-40B4-BE49-F238E27FC236}">
                    <a16:creationId xmlns:a16="http://schemas.microsoft.com/office/drawing/2014/main" id="{398B2A6F-F280-4F45-9549-F506FE3471EA}"/>
                  </a:ext>
                </a:extLst>
              </p:cNvPr>
              <p:cNvSpPr/>
              <p:nvPr/>
            </p:nvSpPr>
            <p:spPr>
              <a:xfrm>
                <a:off x="3922657" y="2642142"/>
                <a:ext cx="745216" cy="745216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70" name="Group 169">
                <a:extLst>
                  <a:ext uri="{FF2B5EF4-FFF2-40B4-BE49-F238E27FC236}">
                    <a16:creationId xmlns:a16="http://schemas.microsoft.com/office/drawing/2014/main" id="{4B7B4040-C735-4489-94C7-19E5DBD80353}"/>
                  </a:ext>
                </a:extLst>
              </p:cNvPr>
              <p:cNvGrpSpPr/>
              <p:nvPr/>
            </p:nvGrpSpPr>
            <p:grpSpPr>
              <a:xfrm>
                <a:off x="3439887" y="473982"/>
                <a:ext cx="2026556" cy="5910036"/>
                <a:chOff x="7271658" y="947964"/>
                <a:chExt cx="2026556" cy="5910036"/>
              </a:xfrm>
            </p:grpSpPr>
            <p:grpSp>
              <p:nvGrpSpPr>
                <p:cNvPr id="183" name="Group 182">
                  <a:extLst>
                    <a:ext uri="{FF2B5EF4-FFF2-40B4-BE49-F238E27FC236}">
                      <a16:creationId xmlns:a16="http://schemas.microsoft.com/office/drawing/2014/main" id="{84C38A8D-0C24-4D29-B57F-842135DC9D0F}"/>
                    </a:ext>
                  </a:extLst>
                </p:cNvPr>
                <p:cNvGrpSpPr/>
                <p:nvPr/>
              </p:nvGrpSpPr>
              <p:grpSpPr>
                <a:xfrm>
                  <a:off x="8069943" y="2324100"/>
                  <a:ext cx="457200" cy="4533900"/>
                  <a:chOff x="8069943" y="2324100"/>
                  <a:chExt cx="457200" cy="4533900"/>
                </a:xfrm>
              </p:grpSpPr>
              <p:sp>
                <p:nvSpPr>
                  <p:cNvPr id="188" name="Freeform: Shape 187">
                    <a:extLst>
                      <a:ext uri="{FF2B5EF4-FFF2-40B4-BE49-F238E27FC236}">
                        <a16:creationId xmlns:a16="http://schemas.microsoft.com/office/drawing/2014/main" id="{333F5543-2BE8-429C-BDAA-844395ECE52B}"/>
                      </a:ext>
                    </a:extLst>
                  </p:cNvPr>
                  <p:cNvSpPr/>
                  <p:nvPr/>
                </p:nvSpPr>
                <p:spPr>
                  <a:xfrm>
                    <a:off x="8298543" y="2324100"/>
                    <a:ext cx="228600" cy="4533900"/>
                  </a:xfrm>
                  <a:custGeom>
                    <a:avLst/>
                    <a:gdLst>
                      <a:gd name="connsiteX0" fmla="*/ 0 w 228600"/>
                      <a:gd name="connsiteY0" fmla="*/ 0 h 4533900"/>
                      <a:gd name="connsiteX1" fmla="*/ 114300 w 228600"/>
                      <a:gd name="connsiteY1" fmla="*/ 0 h 4533900"/>
                      <a:gd name="connsiteX2" fmla="*/ 228600 w 228600"/>
                      <a:gd name="connsiteY2" fmla="*/ 4533900 h 4533900"/>
                      <a:gd name="connsiteX3" fmla="*/ 0 w 228600"/>
                      <a:gd name="connsiteY3" fmla="*/ 4533900 h 4533900"/>
                      <a:gd name="connsiteX4" fmla="*/ 0 w 228600"/>
                      <a:gd name="connsiteY4" fmla="*/ 0 h 4533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8600" h="4533900">
                        <a:moveTo>
                          <a:pt x="0" y="0"/>
                        </a:moveTo>
                        <a:lnTo>
                          <a:pt x="114300" y="0"/>
                        </a:lnTo>
                        <a:lnTo>
                          <a:pt x="228600" y="4533900"/>
                        </a:lnTo>
                        <a:lnTo>
                          <a:pt x="0" y="453390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189" name="Freeform: Shape 188">
                    <a:extLst>
                      <a:ext uri="{FF2B5EF4-FFF2-40B4-BE49-F238E27FC236}">
                        <a16:creationId xmlns:a16="http://schemas.microsoft.com/office/drawing/2014/main" id="{8A1C16AF-4DA6-4DDC-ADA2-E04BF1BD9133}"/>
                      </a:ext>
                    </a:extLst>
                  </p:cNvPr>
                  <p:cNvSpPr/>
                  <p:nvPr/>
                </p:nvSpPr>
                <p:spPr>
                  <a:xfrm>
                    <a:off x="8069943" y="2324100"/>
                    <a:ext cx="228600" cy="4533900"/>
                  </a:xfrm>
                  <a:custGeom>
                    <a:avLst/>
                    <a:gdLst>
                      <a:gd name="connsiteX0" fmla="*/ 114300 w 228600"/>
                      <a:gd name="connsiteY0" fmla="*/ 0 h 4533900"/>
                      <a:gd name="connsiteX1" fmla="*/ 228600 w 228600"/>
                      <a:gd name="connsiteY1" fmla="*/ 0 h 4533900"/>
                      <a:gd name="connsiteX2" fmla="*/ 228600 w 228600"/>
                      <a:gd name="connsiteY2" fmla="*/ 4533900 h 4533900"/>
                      <a:gd name="connsiteX3" fmla="*/ 0 w 228600"/>
                      <a:gd name="connsiteY3" fmla="*/ 4533900 h 4533900"/>
                      <a:gd name="connsiteX4" fmla="*/ 114300 w 228600"/>
                      <a:gd name="connsiteY4" fmla="*/ 0 h 4533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8600" h="4533900">
                        <a:moveTo>
                          <a:pt x="114300" y="0"/>
                        </a:moveTo>
                        <a:lnTo>
                          <a:pt x="228600" y="0"/>
                        </a:lnTo>
                        <a:lnTo>
                          <a:pt x="228600" y="4533900"/>
                        </a:lnTo>
                        <a:lnTo>
                          <a:pt x="0" y="4533900"/>
                        </a:lnTo>
                        <a:lnTo>
                          <a:pt x="114300" y="0"/>
                        </a:lnTo>
                        <a:close/>
                      </a:path>
                    </a:pathLst>
                  </a:custGeom>
                  <a:solidFill>
                    <a:schemeClr val="accent2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184" name="Block Arc 183">
                  <a:extLst>
                    <a:ext uri="{FF2B5EF4-FFF2-40B4-BE49-F238E27FC236}">
                      <a16:creationId xmlns:a16="http://schemas.microsoft.com/office/drawing/2014/main" id="{D889990B-B880-454B-8876-479AD34F2DB5}"/>
                    </a:ext>
                  </a:extLst>
                </p:cNvPr>
                <p:cNvSpPr/>
                <p:nvPr/>
              </p:nvSpPr>
              <p:spPr>
                <a:xfrm rot="16200000">
                  <a:off x="7271658" y="2061029"/>
                  <a:ext cx="1770743" cy="1770743"/>
                </a:xfrm>
                <a:prstGeom prst="blockArc">
                  <a:avLst>
                    <a:gd name="adj1" fmla="val 10800000"/>
                    <a:gd name="adj2" fmla="val 16234411"/>
                    <a:gd name="adj3" fmla="val 9014"/>
                  </a:avLst>
                </a:pr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5" name="Block Arc 184">
                  <a:extLst>
                    <a:ext uri="{FF2B5EF4-FFF2-40B4-BE49-F238E27FC236}">
                      <a16:creationId xmlns:a16="http://schemas.microsoft.com/office/drawing/2014/main" id="{F8262987-7ED9-4A28-95DC-98C86F0A13C2}"/>
                    </a:ext>
                  </a:extLst>
                </p:cNvPr>
                <p:cNvSpPr/>
                <p:nvPr/>
              </p:nvSpPr>
              <p:spPr>
                <a:xfrm rot="16200000">
                  <a:off x="7300686" y="947964"/>
                  <a:ext cx="1770743" cy="1770743"/>
                </a:xfrm>
                <a:prstGeom prst="blockArc">
                  <a:avLst>
                    <a:gd name="adj1" fmla="val 10800000"/>
                    <a:gd name="adj2" fmla="val 16234411"/>
                    <a:gd name="adj3" fmla="val 9014"/>
                  </a:avLst>
                </a:pr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6" name="Block Arc 185">
                  <a:extLst>
                    <a:ext uri="{FF2B5EF4-FFF2-40B4-BE49-F238E27FC236}">
                      <a16:creationId xmlns:a16="http://schemas.microsoft.com/office/drawing/2014/main" id="{18F5321D-5F2B-493C-AAA6-CE953E665972}"/>
                    </a:ext>
                  </a:extLst>
                </p:cNvPr>
                <p:cNvSpPr/>
                <p:nvPr/>
              </p:nvSpPr>
              <p:spPr>
                <a:xfrm rot="5400000" flipH="1">
                  <a:off x="7527471" y="2669268"/>
                  <a:ext cx="1770743" cy="1770743"/>
                </a:xfrm>
                <a:prstGeom prst="blockArc">
                  <a:avLst>
                    <a:gd name="adj1" fmla="val 10800000"/>
                    <a:gd name="adj2" fmla="val 16234411"/>
                    <a:gd name="adj3" fmla="val 9014"/>
                  </a:avLst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7" name="Block Arc 186">
                  <a:extLst>
                    <a:ext uri="{FF2B5EF4-FFF2-40B4-BE49-F238E27FC236}">
                      <a16:creationId xmlns:a16="http://schemas.microsoft.com/office/drawing/2014/main" id="{6F209794-417A-4AE9-A9D3-E825BE911CB5}"/>
                    </a:ext>
                  </a:extLst>
                </p:cNvPr>
                <p:cNvSpPr/>
                <p:nvPr/>
              </p:nvSpPr>
              <p:spPr>
                <a:xfrm rot="5400000" flipH="1">
                  <a:off x="7527471" y="1544411"/>
                  <a:ext cx="1770743" cy="1770743"/>
                </a:xfrm>
                <a:prstGeom prst="blockArc">
                  <a:avLst>
                    <a:gd name="adj1" fmla="val 10800000"/>
                    <a:gd name="adj2" fmla="val 16234411"/>
                    <a:gd name="adj3" fmla="val 9014"/>
                  </a:avLst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71" name="Group 170">
                <a:extLst>
                  <a:ext uri="{FF2B5EF4-FFF2-40B4-BE49-F238E27FC236}">
                    <a16:creationId xmlns:a16="http://schemas.microsoft.com/office/drawing/2014/main" id="{929DD376-83A3-4F75-8AA1-7C8E1EE650D5}"/>
                  </a:ext>
                </a:extLst>
              </p:cNvPr>
              <p:cNvGrpSpPr/>
              <p:nvPr/>
            </p:nvGrpSpPr>
            <p:grpSpPr>
              <a:xfrm>
                <a:off x="2820309" y="1647146"/>
                <a:ext cx="1307872" cy="1307872"/>
                <a:chOff x="3193143" y="1833336"/>
                <a:chExt cx="2757714" cy="2757714"/>
              </a:xfrm>
            </p:grpSpPr>
            <p:sp>
              <p:nvSpPr>
                <p:cNvPr id="181" name="Freeform: Shape 180">
                  <a:extLst>
                    <a:ext uri="{FF2B5EF4-FFF2-40B4-BE49-F238E27FC236}">
                      <a16:creationId xmlns:a16="http://schemas.microsoft.com/office/drawing/2014/main" id="{C12EA81C-C8C3-4437-A26E-75CD71C05EFE}"/>
                    </a:ext>
                  </a:extLst>
                </p:cNvPr>
                <p:cNvSpPr/>
                <p:nvPr/>
              </p:nvSpPr>
              <p:spPr>
                <a:xfrm>
                  <a:off x="4572000" y="1833336"/>
                  <a:ext cx="1378857" cy="2757714"/>
                </a:xfrm>
                <a:custGeom>
                  <a:avLst/>
                  <a:gdLst>
                    <a:gd name="connsiteX0" fmla="*/ 0 w 1378857"/>
                    <a:gd name="connsiteY0" fmla="*/ 0 h 2757714"/>
                    <a:gd name="connsiteX1" fmla="*/ 1378857 w 1378857"/>
                    <a:gd name="connsiteY1" fmla="*/ 1378857 h 2757714"/>
                    <a:gd name="connsiteX2" fmla="*/ 0 w 1378857"/>
                    <a:gd name="connsiteY2" fmla="*/ 2757714 h 2757714"/>
                    <a:gd name="connsiteX3" fmla="*/ 0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0" y="0"/>
                      </a:moveTo>
                      <a:cubicBezTo>
                        <a:pt x="761522" y="0"/>
                        <a:pt x="1378857" y="617335"/>
                        <a:pt x="1378857" y="1378857"/>
                      </a:cubicBezTo>
                      <a:cubicBezTo>
                        <a:pt x="1378857" y="2140379"/>
                        <a:pt x="761522" y="2757714"/>
                        <a:pt x="0" y="275771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2" name="Freeform: Shape 181">
                  <a:extLst>
                    <a:ext uri="{FF2B5EF4-FFF2-40B4-BE49-F238E27FC236}">
                      <a16:creationId xmlns:a16="http://schemas.microsoft.com/office/drawing/2014/main" id="{7E1AC378-A3E8-4F8D-8695-FC14FE13F76E}"/>
                    </a:ext>
                  </a:extLst>
                </p:cNvPr>
                <p:cNvSpPr/>
                <p:nvPr/>
              </p:nvSpPr>
              <p:spPr>
                <a:xfrm>
                  <a:off x="3193143" y="1833336"/>
                  <a:ext cx="1378857" cy="2757714"/>
                </a:xfrm>
                <a:custGeom>
                  <a:avLst/>
                  <a:gdLst>
                    <a:gd name="connsiteX0" fmla="*/ 1378857 w 1378857"/>
                    <a:gd name="connsiteY0" fmla="*/ 0 h 2757714"/>
                    <a:gd name="connsiteX1" fmla="*/ 1378857 w 1378857"/>
                    <a:gd name="connsiteY1" fmla="*/ 2757714 h 2757714"/>
                    <a:gd name="connsiteX2" fmla="*/ 0 w 1378857"/>
                    <a:gd name="connsiteY2" fmla="*/ 1378857 h 2757714"/>
                    <a:gd name="connsiteX3" fmla="*/ 1378857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1378857" y="0"/>
                      </a:moveTo>
                      <a:lnTo>
                        <a:pt x="1378857" y="2757714"/>
                      </a:lnTo>
                      <a:cubicBezTo>
                        <a:pt x="617335" y="2757714"/>
                        <a:pt x="0" y="2140379"/>
                        <a:pt x="0" y="1378857"/>
                      </a:cubicBezTo>
                      <a:cubicBezTo>
                        <a:pt x="0" y="617335"/>
                        <a:pt x="617335" y="0"/>
                        <a:pt x="1378857" y="0"/>
                      </a:cubicBez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72" name="Group 171">
                <a:extLst>
                  <a:ext uri="{FF2B5EF4-FFF2-40B4-BE49-F238E27FC236}">
                    <a16:creationId xmlns:a16="http://schemas.microsoft.com/office/drawing/2014/main" id="{7A643568-CC12-4DCA-AA5E-3AC54DCCC68A}"/>
                  </a:ext>
                </a:extLst>
              </p:cNvPr>
              <p:cNvGrpSpPr/>
              <p:nvPr/>
            </p:nvGrpSpPr>
            <p:grpSpPr>
              <a:xfrm>
                <a:off x="3242130" y="674802"/>
                <a:ext cx="1307872" cy="1307872"/>
                <a:chOff x="3193143" y="1833336"/>
                <a:chExt cx="2757714" cy="2757714"/>
              </a:xfrm>
            </p:grpSpPr>
            <p:sp>
              <p:nvSpPr>
                <p:cNvPr id="179" name="Freeform: Shape 178">
                  <a:extLst>
                    <a:ext uri="{FF2B5EF4-FFF2-40B4-BE49-F238E27FC236}">
                      <a16:creationId xmlns:a16="http://schemas.microsoft.com/office/drawing/2014/main" id="{BF300B35-D112-41DD-AA69-9E9C23197055}"/>
                    </a:ext>
                  </a:extLst>
                </p:cNvPr>
                <p:cNvSpPr/>
                <p:nvPr/>
              </p:nvSpPr>
              <p:spPr>
                <a:xfrm>
                  <a:off x="4572000" y="1833336"/>
                  <a:ext cx="1378857" cy="2757714"/>
                </a:xfrm>
                <a:custGeom>
                  <a:avLst/>
                  <a:gdLst>
                    <a:gd name="connsiteX0" fmla="*/ 0 w 1378857"/>
                    <a:gd name="connsiteY0" fmla="*/ 0 h 2757714"/>
                    <a:gd name="connsiteX1" fmla="*/ 1378857 w 1378857"/>
                    <a:gd name="connsiteY1" fmla="*/ 1378857 h 2757714"/>
                    <a:gd name="connsiteX2" fmla="*/ 0 w 1378857"/>
                    <a:gd name="connsiteY2" fmla="*/ 2757714 h 2757714"/>
                    <a:gd name="connsiteX3" fmla="*/ 0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0" y="0"/>
                      </a:moveTo>
                      <a:cubicBezTo>
                        <a:pt x="761522" y="0"/>
                        <a:pt x="1378857" y="617335"/>
                        <a:pt x="1378857" y="1378857"/>
                      </a:cubicBezTo>
                      <a:cubicBezTo>
                        <a:pt x="1378857" y="2140379"/>
                        <a:pt x="761522" y="2757714"/>
                        <a:pt x="0" y="275771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0" name="Freeform: Shape 179">
                  <a:extLst>
                    <a:ext uri="{FF2B5EF4-FFF2-40B4-BE49-F238E27FC236}">
                      <a16:creationId xmlns:a16="http://schemas.microsoft.com/office/drawing/2014/main" id="{DA4D4131-981C-44D7-B027-C3ECFDD49A4C}"/>
                    </a:ext>
                  </a:extLst>
                </p:cNvPr>
                <p:cNvSpPr/>
                <p:nvPr/>
              </p:nvSpPr>
              <p:spPr>
                <a:xfrm>
                  <a:off x="3193143" y="1833336"/>
                  <a:ext cx="1378857" cy="2757714"/>
                </a:xfrm>
                <a:custGeom>
                  <a:avLst/>
                  <a:gdLst>
                    <a:gd name="connsiteX0" fmla="*/ 1378857 w 1378857"/>
                    <a:gd name="connsiteY0" fmla="*/ 0 h 2757714"/>
                    <a:gd name="connsiteX1" fmla="*/ 1378857 w 1378857"/>
                    <a:gd name="connsiteY1" fmla="*/ 2757714 h 2757714"/>
                    <a:gd name="connsiteX2" fmla="*/ 0 w 1378857"/>
                    <a:gd name="connsiteY2" fmla="*/ 1378857 h 2757714"/>
                    <a:gd name="connsiteX3" fmla="*/ 1378857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1378857" y="0"/>
                      </a:moveTo>
                      <a:lnTo>
                        <a:pt x="1378857" y="2757714"/>
                      </a:lnTo>
                      <a:cubicBezTo>
                        <a:pt x="617335" y="2757714"/>
                        <a:pt x="0" y="2140379"/>
                        <a:pt x="0" y="1378857"/>
                      </a:cubicBezTo>
                      <a:cubicBezTo>
                        <a:pt x="0" y="617335"/>
                        <a:pt x="617335" y="0"/>
                        <a:pt x="1378857" y="0"/>
                      </a:cubicBez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73" name="Group 172">
                <a:extLst>
                  <a:ext uri="{FF2B5EF4-FFF2-40B4-BE49-F238E27FC236}">
                    <a16:creationId xmlns:a16="http://schemas.microsoft.com/office/drawing/2014/main" id="{64708EFE-E35F-41E7-8E2A-667C323DD43F}"/>
                  </a:ext>
                </a:extLst>
              </p:cNvPr>
              <p:cNvGrpSpPr/>
              <p:nvPr/>
            </p:nvGrpSpPr>
            <p:grpSpPr>
              <a:xfrm>
                <a:off x="4972506" y="2589893"/>
                <a:ext cx="933447" cy="933447"/>
                <a:chOff x="3193143" y="1833336"/>
                <a:chExt cx="2757714" cy="2757714"/>
              </a:xfrm>
            </p:grpSpPr>
            <p:sp>
              <p:nvSpPr>
                <p:cNvPr id="177" name="Freeform: Shape 176">
                  <a:extLst>
                    <a:ext uri="{FF2B5EF4-FFF2-40B4-BE49-F238E27FC236}">
                      <a16:creationId xmlns:a16="http://schemas.microsoft.com/office/drawing/2014/main" id="{AC703A86-E6E4-4398-9EAB-768D923BFE6D}"/>
                    </a:ext>
                  </a:extLst>
                </p:cNvPr>
                <p:cNvSpPr/>
                <p:nvPr/>
              </p:nvSpPr>
              <p:spPr>
                <a:xfrm>
                  <a:off x="4572000" y="1833336"/>
                  <a:ext cx="1378857" cy="2757714"/>
                </a:xfrm>
                <a:custGeom>
                  <a:avLst/>
                  <a:gdLst>
                    <a:gd name="connsiteX0" fmla="*/ 0 w 1378857"/>
                    <a:gd name="connsiteY0" fmla="*/ 0 h 2757714"/>
                    <a:gd name="connsiteX1" fmla="*/ 1378857 w 1378857"/>
                    <a:gd name="connsiteY1" fmla="*/ 1378857 h 2757714"/>
                    <a:gd name="connsiteX2" fmla="*/ 0 w 1378857"/>
                    <a:gd name="connsiteY2" fmla="*/ 2757714 h 2757714"/>
                    <a:gd name="connsiteX3" fmla="*/ 0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0" y="0"/>
                      </a:moveTo>
                      <a:cubicBezTo>
                        <a:pt x="761522" y="0"/>
                        <a:pt x="1378857" y="617335"/>
                        <a:pt x="1378857" y="1378857"/>
                      </a:cubicBezTo>
                      <a:cubicBezTo>
                        <a:pt x="1378857" y="2140379"/>
                        <a:pt x="761522" y="2757714"/>
                        <a:pt x="0" y="275771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78" name="Freeform: Shape 177">
                  <a:extLst>
                    <a:ext uri="{FF2B5EF4-FFF2-40B4-BE49-F238E27FC236}">
                      <a16:creationId xmlns:a16="http://schemas.microsoft.com/office/drawing/2014/main" id="{D1780628-0657-42DC-9A8B-26683D249AA2}"/>
                    </a:ext>
                  </a:extLst>
                </p:cNvPr>
                <p:cNvSpPr/>
                <p:nvPr/>
              </p:nvSpPr>
              <p:spPr>
                <a:xfrm>
                  <a:off x="3193143" y="1833336"/>
                  <a:ext cx="1378857" cy="2757714"/>
                </a:xfrm>
                <a:custGeom>
                  <a:avLst/>
                  <a:gdLst>
                    <a:gd name="connsiteX0" fmla="*/ 1378857 w 1378857"/>
                    <a:gd name="connsiteY0" fmla="*/ 0 h 2757714"/>
                    <a:gd name="connsiteX1" fmla="*/ 1378857 w 1378857"/>
                    <a:gd name="connsiteY1" fmla="*/ 2757714 h 2757714"/>
                    <a:gd name="connsiteX2" fmla="*/ 0 w 1378857"/>
                    <a:gd name="connsiteY2" fmla="*/ 1378857 h 2757714"/>
                    <a:gd name="connsiteX3" fmla="*/ 1378857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1378857" y="0"/>
                      </a:moveTo>
                      <a:lnTo>
                        <a:pt x="1378857" y="2757714"/>
                      </a:lnTo>
                      <a:cubicBezTo>
                        <a:pt x="617335" y="2757714"/>
                        <a:pt x="0" y="2140379"/>
                        <a:pt x="0" y="1378857"/>
                      </a:cubicBezTo>
                      <a:cubicBezTo>
                        <a:pt x="0" y="617335"/>
                        <a:pt x="617335" y="0"/>
                        <a:pt x="1378857" y="0"/>
                      </a:cubicBez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74" name="Group 173">
                <a:extLst>
                  <a:ext uri="{FF2B5EF4-FFF2-40B4-BE49-F238E27FC236}">
                    <a16:creationId xmlns:a16="http://schemas.microsoft.com/office/drawing/2014/main" id="{E4DDEDB2-E322-4330-9CDE-0AACB98B5341}"/>
                  </a:ext>
                </a:extLst>
              </p:cNvPr>
              <p:cNvGrpSpPr/>
              <p:nvPr/>
            </p:nvGrpSpPr>
            <p:grpSpPr>
              <a:xfrm>
                <a:off x="4194006" y="378736"/>
                <a:ext cx="2280867" cy="2280867"/>
                <a:chOff x="3193144" y="1833336"/>
                <a:chExt cx="2757714" cy="2757714"/>
              </a:xfrm>
            </p:grpSpPr>
            <p:sp>
              <p:nvSpPr>
                <p:cNvPr id="175" name="Freeform: Shape 174">
                  <a:extLst>
                    <a:ext uri="{FF2B5EF4-FFF2-40B4-BE49-F238E27FC236}">
                      <a16:creationId xmlns:a16="http://schemas.microsoft.com/office/drawing/2014/main" id="{DB9283EE-B71D-42BC-B338-7A7FB0078433}"/>
                    </a:ext>
                  </a:extLst>
                </p:cNvPr>
                <p:cNvSpPr/>
                <p:nvPr/>
              </p:nvSpPr>
              <p:spPr>
                <a:xfrm>
                  <a:off x="4572001" y="1833336"/>
                  <a:ext cx="1378857" cy="2757714"/>
                </a:xfrm>
                <a:custGeom>
                  <a:avLst/>
                  <a:gdLst>
                    <a:gd name="connsiteX0" fmla="*/ 0 w 1378857"/>
                    <a:gd name="connsiteY0" fmla="*/ 0 h 2757714"/>
                    <a:gd name="connsiteX1" fmla="*/ 1378857 w 1378857"/>
                    <a:gd name="connsiteY1" fmla="*/ 1378857 h 2757714"/>
                    <a:gd name="connsiteX2" fmla="*/ 0 w 1378857"/>
                    <a:gd name="connsiteY2" fmla="*/ 2757714 h 2757714"/>
                    <a:gd name="connsiteX3" fmla="*/ 0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0" y="0"/>
                      </a:moveTo>
                      <a:cubicBezTo>
                        <a:pt x="761522" y="0"/>
                        <a:pt x="1378857" y="617335"/>
                        <a:pt x="1378857" y="1378857"/>
                      </a:cubicBezTo>
                      <a:cubicBezTo>
                        <a:pt x="1378857" y="2140379"/>
                        <a:pt x="761522" y="2757714"/>
                        <a:pt x="0" y="275771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76" name="Freeform: Shape 175">
                  <a:extLst>
                    <a:ext uri="{FF2B5EF4-FFF2-40B4-BE49-F238E27FC236}">
                      <a16:creationId xmlns:a16="http://schemas.microsoft.com/office/drawing/2014/main" id="{BD0B2566-F8B6-4DB1-A208-797C0491C381}"/>
                    </a:ext>
                  </a:extLst>
                </p:cNvPr>
                <p:cNvSpPr/>
                <p:nvPr/>
              </p:nvSpPr>
              <p:spPr>
                <a:xfrm>
                  <a:off x="3193144" y="1833336"/>
                  <a:ext cx="1378857" cy="2757714"/>
                </a:xfrm>
                <a:custGeom>
                  <a:avLst/>
                  <a:gdLst>
                    <a:gd name="connsiteX0" fmla="*/ 1378857 w 1378857"/>
                    <a:gd name="connsiteY0" fmla="*/ 0 h 2757714"/>
                    <a:gd name="connsiteX1" fmla="*/ 1378857 w 1378857"/>
                    <a:gd name="connsiteY1" fmla="*/ 2757714 h 2757714"/>
                    <a:gd name="connsiteX2" fmla="*/ 0 w 1378857"/>
                    <a:gd name="connsiteY2" fmla="*/ 1378857 h 2757714"/>
                    <a:gd name="connsiteX3" fmla="*/ 1378857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1378857" y="0"/>
                      </a:moveTo>
                      <a:lnTo>
                        <a:pt x="1378857" y="2757714"/>
                      </a:lnTo>
                      <a:cubicBezTo>
                        <a:pt x="617335" y="2757714"/>
                        <a:pt x="0" y="2140379"/>
                        <a:pt x="0" y="1378857"/>
                      </a:cubicBezTo>
                      <a:cubicBezTo>
                        <a:pt x="0" y="617335"/>
                        <a:pt x="617335" y="0"/>
                        <a:pt x="1378857" y="0"/>
                      </a:cubicBez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  <p:grpSp>
        <p:nvGrpSpPr>
          <p:cNvPr id="190" name="Group 189">
            <a:extLst>
              <a:ext uri="{FF2B5EF4-FFF2-40B4-BE49-F238E27FC236}">
                <a16:creationId xmlns:a16="http://schemas.microsoft.com/office/drawing/2014/main" id="{48719701-D471-4573-812D-E4453DD607AE}"/>
              </a:ext>
            </a:extLst>
          </p:cNvPr>
          <p:cNvGrpSpPr/>
          <p:nvPr/>
        </p:nvGrpSpPr>
        <p:grpSpPr>
          <a:xfrm flipH="1">
            <a:off x="2337848" y="5733835"/>
            <a:ext cx="258747" cy="437251"/>
            <a:chOff x="2820309" y="378736"/>
            <a:chExt cx="3654564" cy="6175768"/>
          </a:xfrm>
        </p:grpSpPr>
        <p:sp>
          <p:nvSpPr>
            <p:cNvPr id="191" name="Oval 190">
              <a:extLst>
                <a:ext uri="{FF2B5EF4-FFF2-40B4-BE49-F238E27FC236}">
                  <a16:creationId xmlns:a16="http://schemas.microsoft.com/office/drawing/2014/main" id="{44D92EF9-5CD3-43F4-93F7-51B5DA198A5A}"/>
                </a:ext>
              </a:extLst>
            </p:cNvPr>
            <p:cNvSpPr/>
            <p:nvPr/>
          </p:nvSpPr>
          <p:spPr>
            <a:xfrm>
              <a:off x="3245645" y="2718154"/>
              <a:ext cx="860537" cy="860537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2" name="Oval 191">
              <a:extLst>
                <a:ext uri="{FF2B5EF4-FFF2-40B4-BE49-F238E27FC236}">
                  <a16:creationId xmlns:a16="http://schemas.microsoft.com/office/drawing/2014/main" id="{B0107A65-EF97-4734-AD1A-D01098599DB5}"/>
                </a:ext>
              </a:extLst>
            </p:cNvPr>
            <p:cNvSpPr/>
            <p:nvPr/>
          </p:nvSpPr>
          <p:spPr>
            <a:xfrm>
              <a:off x="5340159" y="1982674"/>
              <a:ext cx="958455" cy="958455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93" name="Group 192">
              <a:extLst>
                <a:ext uri="{FF2B5EF4-FFF2-40B4-BE49-F238E27FC236}">
                  <a16:creationId xmlns:a16="http://schemas.microsoft.com/office/drawing/2014/main" id="{9CA60FD3-E4EB-40F0-8D61-C0DA22C2B0FE}"/>
                </a:ext>
              </a:extLst>
            </p:cNvPr>
            <p:cNvGrpSpPr/>
            <p:nvPr/>
          </p:nvGrpSpPr>
          <p:grpSpPr>
            <a:xfrm>
              <a:off x="2820309" y="378736"/>
              <a:ext cx="3654564" cy="6175768"/>
              <a:chOff x="2820309" y="378736"/>
              <a:chExt cx="3654564" cy="6175768"/>
            </a:xfrm>
          </p:grpSpPr>
          <p:sp>
            <p:nvSpPr>
              <p:cNvPr id="194" name="Oval 193">
                <a:extLst>
                  <a:ext uri="{FF2B5EF4-FFF2-40B4-BE49-F238E27FC236}">
                    <a16:creationId xmlns:a16="http://schemas.microsoft.com/office/drawing/2014/main" id="{642A8774-1B53-4B1F-9FF9-7482D051A328}"/>
                  </a:ext>
                </a:extLst>
              </p:cNvPr>
              <p:cNvSpPr/>
              <p:nvPr/>
            </p:nvSpPr>
            <p:spPr>
              <a:xfrm>
                <a:off x="3007972" y="6213531"/>
                <a:ext cx="2917599" cy="340973"/>
              </a:xfrm>
              <a:prstGeom prst="ellipse">
                <a:avLst/>
              </a:prstGeom>
              <a:solidFill>
                <a:schemeClr val="tx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95" name="Group 194">
                <a:extLst>
                  <a:ext uri="{FF2B5EF4-FFF2-40B4-BE49-F238E27FC236}">
                    <a16:creationId xmlns:a16="http://schemas.microsoft.com/office/drawing/2014/main" id="{8FA78DC5-30D3-4133-8B14-33077754E220}"/>
                  </a:ext>
                </a:extLst>
              </p:cNvPr>
              <p:cNvGrpSpPr/>
              <p:nvPr/>
            </p:nvGrpSpPr>
            <p:grpSpPr>
              <a:xfrm>
                <a:off x="2820309" y="378736"/>
                <a:ext cx="3654564" cy="6005282"/>
                <a:chOff x="2820309" y="378736"/>
                <a:chExt cx="3654564" cy="6005282"/>
              </a:xfrm>
            </p:grpSpPr>
            <p:sp>
              <p:nvSpPr>
                <p:cNvPr id="196" name="Oval 195">
                  <a:extLst>
                    <a:ext uri="{FF2B5EF4-FFF2-40B4-BE49-F238E27FC236}">
                      <a16:creationId xmlns:a16="http://schemas.microsoft.com/office/drawing/2014/main" id="{57FC004C-2BDA-4A7A-88D8-553375F84F47}"/>
                    </a:ext>
                  </a:extLst>
                </p:cNvPr>
                <p:cNvSpPr/>
                <p:nvPr/>
              </p:nvSpPr>
              <p:spPr>
                <a:xfrm>
                  <a:off x="3147673" y="871875"/>
                  <a:ext cx="2892653" cy="2892653"/>
                </a:xfrm>
                <a:prstGeom prst="ellipse">
                  <a:avLst/>
                </a:prstGeom>
                <a:solidFill>
                  <a:schemeClr val="accent6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97" name="Oval 196">
                  <a:extLst>
                    <a:ext uri="{FF2B5EF4-FFF2-40B4-BE49-F238E27FC236}">
                      <a16:creationId xmlns:a16="http://schemas.microsoft.com/office/drawing/2014/main" id="{784CB933-E55E-4AE1-9DEA-8A95DDA2784B}"/>
                    </a:ext>
                  </a:extLst>
                </p:cNvPr>
                <p:cNvSpPr/>
                <p:nvPr/>
              </p:nvSpPr>
              <p:spPr>
                <a:xfrm>
                  <a:off x="3922657" y="2642142"/>
                  <a:ext cx="745216" cy="745216"/>
                </a:xfrm>
                <a:prstGeom prst="ellipse">
                  <a:avLst/>
                </a:pr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198" name="Group 197">
                  <a:extLst>
                    <a:ext uri="{FF2B5EF4-FFF2-40B4-BE49-F238E27FC236}">
                      <a16:creationId xmlns:a16="http://schemas.microsoft.com/office/drawing/2014/main" id="{2665CAB6-DEC4-4CA7-95B8-E7EFE652DB7C}"/>
                    </a:ext>
                  </a:extLst>
                </p:cNvPr>
                <p:cNvGrpSpPr/>
                <p:nvPr/>
              </p:nvGrpSpPr>
              <p:grpSpPr>
                <a:xfrm>
                  <a:off x="3439887" y="473982"/>
                  <a:ext cx="2026556" cy="5910036"/>
                  <a:chOff x="7271658" y="947964"/>
                  <a:chExt cx="2026556" cy="5910036"/>
                </a:xfrm>
              </p:grpSpPr>
              <p:grpSp>
                <p:nvGrpSpPr>
                  <p:cNvPr id="211" name="Group 210">
                    <a:extLst>
                      <a:ext uri="{FF2B5EF4-FFF2-40B4-BE49-F238E27FC236}">
                        <a16:creationId xmlns:a16="http://schemas.microsoft.com/office/drawing/2014/main" id="{BC681C92-F54C-4542-B002-8E5F1E2741F2}"/>
                      </a:ext>
                    </a:extLst>
                  </p:cNvPr>
                  <p:cNvGrpSpPr/>
                  <p:nvPr/>
                </p:nvGrpSpPr>
                <p:grpSpPr>
                  <a:xfrm>
                    <a:off x="8069943" y="2324100"/>
                    <a:ext cx="457200" cy="4533900"/>
                    <a:chOff x="8069943" y="2324100"/>
                    <a:chExt cx="457200" cy="4533900"/>
                  </a:xfrm>
                </p:grpSpPr>
                <p:sp>
                  <p:nvSpPr>
                    <p:cNvPr id="216" name="Freeform: Shape 215">
                      <a:extLst>
                        <a:ext uri="{FF2B5EF4-FFF2-40B4-BE49-F238E27FC236}">
                          <a16:creationId xmlns:a16="http://schemas.microsoft.com/office/drawing/2014/main" id="{60D03CD9-88F3-4B39-8C7B-DEF0CCD427C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298543" y="2324100"/>
                      <a:ext cx="228600" cy="4533900"/>
                    </a:xfrm>
                    <a:custGeom>
                      <a:avLst/>
                      <a:gdLst>
                        <a:gd name="connsiteX0" fmla="*/ 0 w 228600"/>
                        <a:gd name="connsiteY0" fmla="*/ 0 h 4533900"/>
                        <a:gd name="connsiteX1" fmla="*/ 114300 w 228600"/>
                        <a:gd name="connsiteY1" fmla="*/ 0 h 4533900"/>
                        <a:gd name="connsiteX2" fmla="*/ 228600 w 228600"/>
                        <a:gd name="connsiteY2" fmla="*/ 4533900 h 4533900"/>
                        <a:gd name="connsiteX3" fmla="*/ 0 w 228600"/>
                        <a:gd name="connsiteY3" fmla="*/ 4533900 h 4533900"/>
                        <a:gd name="connsiteX4" fmla="*/ 0 w 228600"/>
                        <a:gd name="connsiteY4" fmla="*/ 0 h 45339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28600" h="4533900">
                          <a:moveTo>
                            <a:pt x="0" y="0"/>
                          </a:moveTo>
                          <a:lnTo>
                            <a:pt x="114300" y="0"/>
                          </a:lnTo>
                          <a:lnTo>
                            <a:pt x="228600" y="4533900"/>
                          </a:lnTo>
                          <a:lnTo>
                            <a:pt x="0" y="453390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accent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/>
                    </a:p>
                  </p:txBody>
                </p:sp>
                <p:sp>
                  <p:nvSpPr>
                    <p:cNvPr id="217" name="Freeform: Shape 216">
                      <a:extLst>
                        <a:ext uri="{FF2B5EF4-FFF2-40B4-BE49-F238E27FC236}">
                          <a16:creationId xmlns:a16="http://schemas.microsoft.com/office/drawing/2014/main" id="{DD6310DE-8E33-443D-9B74-E1025314D2B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069943" y="2324100"/>
                      <a:ext cx="228600" cy="4533900"/>
                    </a:xfrm>
                    <a:custGeom>
                      <a:avLst/>
                      <a:gdLst>
                        <a:gd name="connsiteX0" fmla="*/ 114300 w 228600"/>
                        <a:gd name="connsiteY0" fmla="*/ 0 h 4533900"/>
                        <a:gd name="connsiteX1" fmla="*/ 228600 w 228600"/>
                        <a:gd name="connsiteY1" fmla="*/ 0 h 4533900"/>
                        <a:gd name="connsiteX2" fmla="*/ 228600 w 228600"/>
                        <a:gd name="connsiteY2" fmla="*/ 4533900 h 4533900"/>
                        <a:gd name="connsiteX3" fmla="*/ 0 w 228600"/>
                        <a:gd name="connsiteY3" fmla="*/ 4533900 h 4533900"/>
                        <a:gd name="connsiteX4" fmla="*/ 114300 w 228600"/>
                        <a:gd name="connsiteY4" fmla="*/ 0 h 45339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28600" h="4533900">
                          <a:moveTo>
                            <a:pt x="114300" y="0"/>
                          </a:moveTo>
                          <a:lnTo>
                            <a:pt x="228600" y="0"/>
                          </a:lnTo>
                          <a:lnTo>
                            <a:pt x="228600" y="4533900"/>
                          </a:lnTo>
                          <a:lnTo>
                            <a:pt x="0" y="4533900"/>
                          </a:lnTo>
                          <a:lnTo>
                            <a:pt x="114300" y="0"/>
                          </a:lnTo>
                          <a:close/>
                        </a:path>
                      </a:pathLst>
                    </a:custGeom>
                    <a:solidFill>
                      <a:schemeClr val="accent2">
                        <a:lumMod val="75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/>
                    </a:p>
                  </p:txBody>
                </p:sp>
              </p:grpSp>
              <p:sp>
                <p:nvSpPr>
                  <p:cNvPr id="212" name="Block Arc 211">
                    <a:extLst>
                      <a:ext uri="{FF2B5EF4-FFF2-40B4-BE49-F238E27FC236}">
                        <a16:creationId xmlns:a16="http://schemas.microsoft.com/office/drawing/2014/main" id="{B9D80BF2-D879-4BD5-98A1-3FFDB2ABFD01}"/>
                      </a:ext>
                    </a:extLst>
                  </p:cNvPr>
                  <p:cNvSpPr/>
                  <p:nvPr/>
                </p:nvSpPr>
                <p:spPr>
                  <a:xfrm rot="16200000">
                    <a:off x="7271658" y="2061029"/>
                    <a:ext cx="1770743" cy="1770743"/>
                  </a:xfrm>
                  <a:prstGeom prst="blockArc">
                    <a:avLst>
                      <a:gd name="adj1" fmla="val 10800000"/>
                      <a:gd name="adj2" fmla="val 16234411"/>
                      <a:gd name="adj3" fmla="val 9014"/>
                    </a:avLst>
                  </a:prstGeom>
                  <a:solidFill>
                    <a:schemeClr val="accent2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13" name="Block Arc 212">
                    <a:extLst>
                      <a:ext uri="{FF2B5EF4-FFF2-40B4-BE49-F238E27FC236}">
                        <a16:creationId xmlns:a16="http://schemas.microsoft.com/office/drawing/2014/main" id="{CC0314CF-29F4-4ECE-B761-8A0E01580152}"/>
                      </a:ext>
                    </a:extLst>
                  </p:cNvPr>
                  <p:cNvSpPr/>
                  <p:nvPr/>
                </p:nvSpPr>
                <p:spPr>
                  <a:xfrm rot="16200000">
                    <a:off x="7300686" y="947964"/>
                    <a:ext cx="1770743" cy="1770743"/>
                  </a:xfrm>
                  <a:prstGeom prst="blockArc">
                    <a:avLst>
                      <a:gd name="adj1" fmla="val 10800000"/>
                      <a:gd name="adj2" fmla="val 16234411"/>
                      <a:gd name="adj3" fmla="val 9014"/>
                    </a:avLst>
                  </a:prstGeom>
                  <a:solidFill>
                    <a:schemeClr val="accent2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14" name="Block Arc 213">
                    <a:extLst>
                      <a:ext uri="{FF2B5EF4-FFF2-40B4-BE49-F238E27FC236}">
                        <a16:creationId xmlns:a16="http://schemas.microsoft.com/office/drawing/2014/main" id="{8FC20C4C-6BAA-46DF-AD24-FD5ADEAFE8FE}"/>
                      </a:ext>
                    </a:extLst>
                  </p:cNvPr>
                  <p:cNvSpPr/>
                  <p:nvPr/>
                </p:nvSpPr>
                <p:spPr>
                  <a:xfrm rot="5400000" flipH="1">
                    <a:off x="7527471" y="2669268"/>
                    <a:ext cx="1770743" cy="1770743"/>
                  </a:xfrm>
                  <a:prstGeom prst="blockArc">
                    <a:avLst>
                      <a:gd name="adj1" fmla="val 10800000"/>
                      <a:gd name="adj2" fmla="val 16234411"/>
                      <a:gd name="adj3" fmla="val 9014"/>
                    </a:avLst>
                  </a:prstGeom>
                  <a:solidFill>
                    <a:schemeClr val="accent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15" name="Block Arc 214">
                    <a:extLst>
                      <a:ext uri="{FF2B5EF4-FFF2-40B4-BE49-F238E27FC236}">
                        <a16:creationId xmlns:a16="http://schemas.microsoft.com/office/drawing/2014/main" id="{A70C3122-DC21-45FD-9D2F-0FADBCEAE10F}"/>
                      </a:ext>
                    </a:extLst>
                  </p:cNvPr>
                  <p:cNvSpPr/>
                  <p:nvPr/>
                </p:nvSpPr>
                <p:spPr>
                  <a:xfrm rot="5400000" flipH="1">
                    <a:off x="7527471" y="1544411"/>
                    <a:ext cx="1770743" cy="1770743"/>
                  </a:xfrm>
                  <a:prstGeom prst="blockArc">
                    <a:avLst>
                      <a:gd name="adj1" fmla="val 10800000"/>
                      <a:gd name="adj2" fmla="val 16234411"/>
                      <a:gd name="adj3" fmla="val 9014"/>
                    </a:avLst>
                  </a:prstGeom>
                  <a:solidFill>
                    <a:schemeClr val="accent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99" name="Group 198">
                  <a:extLst>
                    <a:ext uri="{FF2B5EF4-FFF2-40B4-BE49-F238E27FC236}">
                      <a16:creationId xmlns:a16="http://schemas.microsoft.com/office/drawing/2014/main" id="{5133DB21-2FE3-4EB5-A581-8A16DFD5C3FA}"/>
                    </a:ext>
                  </a:extLst>
                </p:cNvPr>
                <p:cNvGrpSpPr/>
                <p:nvPr/>
              </p:nvGrpSpPr>
              <p:grpSpPr>
                <a:xfrm>
                  <a:off x="2820309" y="1647146"/>
                  <a:ext cx="1307872" cy="1307872"/>
                  <a:chOff x="3193143" y="1833336"/>
                  <a:chExt cx="2757714" cy="2757714"/>
                </a:xfrm>
              </p:grpSpPr>
              <p:sp>
                <p:nvSpPr>
                  <p:cNvPr id="209" name="Freeform: Shape 208">
                    <a:extLst>
                      <a:ext uri="{FF2B5EF4-FFF2-40B4-BE49-F238E27FC236}">
                        <a16:creationId xmlns:a16="http://schemas.microsoft.com/office/drawing/2014/main" id="{39CEF44D-E236-48EB-8DE2-3B350F63040A}"/>
                      </a:ext>
                    </a:extLst>
                  </p:cNvPr>
                  <p:cNvSpPr/>
                  <p:nvPr/>
                </p:nvSpPr>
                <p:spPr>
                  <a:xfrm>
                    <a:off x="4572000" y="1833336"/>
                    <a:ext cx="1378857" cy="2757714"/>
                  </a:xfrm>
                  <a:custGeom>
                    <a:avLst/>
                    <a:gdLst>
                      <a:gd name="connsiteX0" fmla="*/ 0 w 1378857"/>
                      <a:gd name="connsiteY0" fmla="*/ 0 h 2757714"/>
                      <a:gd name="connsiteX1" fmla="*/ 1378857 w 1378857"/>
                      <a:gd name="connsiteY1" fmla="*/ 1378857 h 2757714"/>
                      <a:gd name="connsiteX2" fmla="*/ 0 w 1378857"/>
                      <a:gd name="connsiteY2" fmla="*/ 2757714 h 2757714"/>
                      <a:gd name="connsiteX3" fmla="*/ 0 w 1378857"/>
                      <a:gd name="connsiteY3" fmla="*/ 0 h 275771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78857" h="2757714">
                        <a:moveTo>
                          <a:pt x="0" y="0"/>
                        </a:moveTo>
                        <a:cubicBezTo>
                          <a:pt x="761522" y="0"/>
                          <a:pt x="1378857" y="617335"/>
                          <a:pt x="1378857" y="1378857"/>
                        </a:cubicBezTo>
                        <a:cubicBezTo>
                          <a:pt x="1378857" y="2140379"/>
                          <a:pt x="761522" y="2757714"/>
                          <a:pt x="0" y="2757714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accent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10" name="Freeform: Shape 209">
                    <a:extLst>
                      <a:ext uri="{FF2B5EF4-FFF2-40B4-BE49-F238E27FC236}">
                        <a16:creationId xmlns:a16="http://schemas.microsoft.com/office/drawing/2014/main" id="{B26F64D7-1C03-4EEC-BF2F-8C17C919A3A8}"/>
                      </a:ext>
                    </a:extLst>
                  </p:cNvPr>
                  <p:cNvSpPr/>
                  <p:nvPr/>
                </p:nvSpPr>
                <p:spPr>
                  <a:xfrm>
                    <a:off x="3193143" y="1833336"/>
                    <a:ext cx="1378857" cy="2757714"/>
                  </a:xfrm>
                  <a:custGeom>
                    <a:avLst/>
                    <a:gdLst>
                      <a:gd name="connsiteX0" fmla="*/ 1378857 w 1378857"/>
                      <a:gd name="connsiteY0" fmla="*/ 0 h 2757714"/>
                      <a:gd name="connsiteX1" fmla="*/ 1378857 w 1378857"/>
                      <a:gd name="connsiteY1" fmla="*/ 2757714 h 2757714"/>
                      <a:gd name="connsiteX2" fmla="*/ 0 w 1378857"/>
                      <a:gd name="connsiteY2" fmla="*/ 1378857 h 2757714"/>
                      <a:gd name="connsiteX3" fmla="*/ 1378857 w 1378857"/>
                      <a:gd name="connsiteY3" fmla="*/ 0 h 275771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78857" h="2757714">
                        <a:moveTo>
                          <a:pt x="1378857" y="0"/>
                        </a:moveTo>
                        <a:lnTo>
                          <a:pt x="1378857" y="2757714"/>
                        </a:lnTo>
                        <a:cubicBezTo>
                          <a:pt x="617335" y="2757714"/>
                          <a:pt x="0" y="2140379"/>
                          <a:pt x="0" y="1378857"/>
                        </a:cubicBezTo>
                        <a:cubicBezTo>
                          <a:pt x="0" y="617335"/>
                          <a:pt x="617335" y="0"/>
                          <a:pt x="1378857" y="0"/>
                        </a:cubicBezTo>
                        <a:close/>
                      </a:path>
                    </a:pathLst>
                  </a:custGeom>
                  <a:solidFill>
                    <a:schemeClr val="accent6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grpSp>
              <p:nvGrpSpPr>
                <p:cNvPr id="200" name="Group 199">
                  <a:extLst>
                    <a:ext uri="{FF2B5EF4-FFF2-40B4-BE49-F238E27FC236}">
                      <a16:creationId xmlns:a16="http://schemas.microsoft.com/office/drawing/2014/main" id="{581487C3-38B0-466D-A743-E682D1F9EA6A}"/>
                    </a:ext>
                  </a:extLst>
                </p:cNvPr>
                <p:cNvGrpSpPr/>
                <p:nvPr/>
              </p:nvGrpSpPr>
              <p:grpSpPr>
                <a:xfrm>
                  <a:off x="3242130" y="674802"/>
                  <a:ext cx="1307872" cy="1307872"/>
                  <a:chOff x="3193143" y="1833336"/>
                  <a:chExt cx="2757714" cy="2757714"/>
                </a:xfrm>
              </p:grpSpPr>
              <p:sp>
                <p:nvSpPr>
                  <p:cNvPr id="207" name="Freeform: Shape 206">
                    <a:extLst>
                      <a:ext uri="{FF2B5EF4-FFF2-40B4-BE49-F238E27FC236}">
                        <a16:creationId xmlns:a16="http://schemas.microsoft.com/office/drawing/2014/main" id="{A74FF553-007E-4FC4-9DDE-184958D363D2}"/>
                      </a:ext>
                    </a:extLst>
                  </p:cNvPr>
                  <p:cNvSpPr/>
                  <p:nvPr/>
                </p:nvSpPr>
                <p:spPr>
                  <a:xfrm>
                    <a:off x="4572000" y="1833336"/>
                    <a:ext cx="1378857" cy="2757714"/>
                  </a:xfrm>
                  <a:custGeom>
                    <a:avLst/>
                    <a:gdLst>
                      <a:gd name="connsiteX0" fmla="*/ 0 w 1378857"/>
                      <a:gd name="connsiteY0" fmla="*/ 0 h 2757714"/>
                      <a:gd name="connsiteX1" fmla="*/ 1378857 w 1378857"/>
                      <a:gd name="connsiteY1" fmla="*/ 1378857 h 2757714"/>
                      <a:gd name="connsiteX2" fmla="*/ 0 w 1378857"/>
                      <a:gd name="connsiteY2" fmla="*/ 2757714 h 2757714"/>
                      <a:gd name="connsiteX3" fmla="*/ 0 w 1378857"/>
                      <a:gd name="connsiteY3" fmla="*/ 0 h 275771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78857" h="2757714">
                        <a:moveTo>
                          <a:pt x="0" y="0"/>
                        </a:moveTo>
                        <a:cubicBezTo>
                          <a:pt x="761522" y="0"/>
                          <a:pt x="1378857" y="617335"/>
                          <a:pt x="1378857" y="1378857"/>
                        </a:cubicBezTo>
                        <a:cubicBezTo>
                          <a:pt x="1378857" y="2140379"/>
                          <a:pt x="761522" y="2757714"/>
                          <a:pt x="0" y="2757714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accent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08" name="Freeform: Shape 207">
                    <a:extLst>
                      <a:ext uri="{FF2B5EF4-FFF2-40B4-BE49-F238E27FC236}">
                        <a16:creationId xmlns:a16="http://schemas.microsoft.com/office/drawing/2014/main" id="{226E308C-77B6-4EB7-BFCA-54712AF033AC}"/>
                      </a:ext>
                    </a:extLst>
                  </p:cNvPr>
                  <p:cNvSpPr/>
                  <p:nvPr/>
                </p:nvSpPr>
                <p:spPr>
                  <a:xfrm>
                    <a:off x="3193143" y="1833336"/>
                    <a:ext cx="1378857" cy="2757714"/>
                  </a:xfrm>
                  <a:custGeom>
                    <a:avLst/>
                    <a:gdLst>
                      <a:gd name="connsiteX0" fmla="*/ 1378857 w 1378857"/>
                      <a:gd name="connsiteY0" fmla="*/ 0 h 2757714"/>
                      <a:gd name="connsiteX1" fmla="*/ 1378857 w 1378857"/>
                      <a:gd name="connsiteY1" fmla="*/ 2757714 h 2757714"/>
                      <a:gd name="connsiteX2" fmla="*/ 0 w 1378857"/>
                      <a:gd name="connsiteY2" fmla="*/ 1378857 h 2757714"/>
                      <a:gd name="connsiteX3" fmla="*/ 1378857 w 1378857"/>
                      <a:gd name="connsiteY3" fmla="*/ 0 h 275771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78857" h="2757714">
                        <a:moveTo>
                          <a:pt x="1378857" y="0"/>
                        </a:moveTo>
                        <a:lnTo>
                          <a:pt x="1378857" y="2757714"/>
                        </a:lnTo>
                        <a:cubicBezTo>
                          <a:pt x="617335" y="2757714"/>
                          <a:pt x="0" y="2140379"/>
                          <a:pt x="0" y="1378857"/>
                        </a:cubicBezTo>
                        <a:cubicBezTo>
                          <a:pt x="0" y="617335"/>
                          <a:pt x="617335" y="0"/>
                          <a:pt x="1378857" y="0"/>
                        </a:cubicBezTo>
                        <a:close/>
                      </a:path>
                    </a:pathLst>
                  </a:custGeom>
                  <a:solidFill>
                    <a:schemeClr val="accent6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grpSp>
              <p:nvGrpSpPr>
                <p:cNvPr id="201" name="Group 200">
                  <a:extLst>
                    <a:ext uri="{FF2B5EF4-FFF2-40B4-BE49-F238E27FC236}">
                      <a16:creationId xmlns:a16="http://schemas.microsoft.com/office/drawing/2014/main" id="{3217A5EE-BE71-4025-A3C5-E3DAACE6FB4C}"/>
                    </a:ext>
                  </a:extLst>
                </p:cNvPr>
                <p:cNvGrpSpPr/>
                <p:nvPr/>
              </p:nvGrpSpPr>
              <p:grpSpPr>
                <a:xfrm>
                  <a:off x="4972506" y="2589893"/>
                  <a:ext cx="933447" cy="933447"/>
                  <a:chOff x="3193143" y="1833336"/>
                  <a:chExt cx="2757714" cy="2757714"/>
                </a:xfrm>
              </p:grpSpPr>
              <p:sp>
                <p:nvSpPr>
                  <p:cNvPr id="205" name="Freeform: Shape 204">
                    <a:extLst>
                      <a:ext uri="{FF2B5EF4-FFF2-40B4-BE49-F238E27FC236}">
                        <a16:creationId xmlns:a16="http://schemas.microsoft.com/office/drawing/2014/main" id="{B1E34E16-D442-4052-BF1D-1E3BFDD28FAA}"/>
                      </a:ext>
                    </a:extLst>
                  </p:cNvPr>
                  <p:cNvSpPr/>
                  <p:nvPr/>
                </p:nvSpPr>
                <p:spPr>
                  <a:xfrm>
                    <a:off x="4572000" y="1833336"/>
                    <a:ext cx="1378857" cy="2757714"/>
                  </a:xfrm>
                  <a:custGeom>
                    <a:avLst/>
                    <a:gdLst>
                      <a:gd name="connsiteX0" fmla="*/ 0 w 1378857"/>
                      <a:gd name="connsiteY0" fmla="*/ 0 h 2757714"/>
                      <a:gd name="connsiteX1" fmla="*/ 1378857 w 1378857"/>
                      <a:gd name="connsiteY1" fmla="*/ 1378857 h 2757714"/>
                      <a:gd name="connsiteX2" fmla="*/ 0 w 1378857"/>
                      <a:gd name="connsiteY2" fmla="*/ 2757714 h 2757714"/>
                      <a:gd name="connsiteX3" fmla="*/ 0 w 1378857"/>
                      <a:gd name="connsiteY3" fmla="*/ 0 h 275771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78857" h="2757714">
                        <a:moveTo>
                          <a:pt x="0" y="0"/>
                        </a:moveTo>
                        <a:cubicBezTo>
                          <a:pt x="761522" y="0"/>
                          <a:pt x="1378857" y="617335"/>
                          <a:pt x="1378857" y="1378857"/>
                        </a:cubicBezTo>
                        <a:cubicBezTo>
                          <a:pt x="1378857" y="2140379"/>
                          <a:pt x="761522" y="2757714"/>
                          <a:pt x="0" y="2757714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accent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06" name="Freeform: Shape 205">
                    <a:extLst>
                      <a:ext uri="{FF2B5EF4-FFF2-40B4-BE49-F238E27FC236}">
                        <a16:creationId xmlns:a16="http://schemas.microsoft.com/office/drawing/2014/main" id="{4F5A1FFB-FC68-4741-A885-4587337008BC}"/>
                      </a:ext>
                    </a:extLst>
                  </p:cNvPr>
                  <p:cNvSpPr/>
                  <p:nvPr/>
                </p:nvSpPr>
                <p:spPr>
                  <a:xfrm>
                    <a:off x="3193143" y="1833336"/>
                    <a:ext cx="1378857" cy="2757714"/>
                  </a:xfrm>
                  <a:custGeom>
                    <a:avLst/>
                    <a:gdLst>
                      <a:gd name="connsiteX0" fmla="*/ 1378857 w 1378857"/>
                      <a:gd name="connsiteY0" fmla="*/ 0 h 2757714"/>
                      <a:gd name="connsiteX1" fmla="*/ 1378857 w 1378857"/>
                      <a:gd name="connsiteY1" fmla="*/ 2757714 h 2757714"/>
                      <a:gd name="connsiteX2" fmla="*/ 0 w 1378857"/>
                      <a:gd name="connsiteY2" fmla="*/ 1378857 h 2757714"/>
                      <a:gd name="connsiteX3" fmla="*/ 1378857 w 1378857"/>
                      <a:gd name="connsiteY3" fmla="*/ 0 h 275771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78857" h="2757714">
                        <a:moveTo>
                          <a:pt x="1378857" y="0"/>
                        </a:moveTo>
                        <a:lnTo>
                          <a:pt x="1378857" y="2757714"/>
                        </a:lnTo>
                        <a:cubicBezTo>
                          <a:pt x="617335" y="2757714"/>
                          <a:pt x="0" y="2140379"/>
                          <a:pt x="0" y="1378857"/>
                        </a:cubicBezTo>
                        <a:cubicBezTo>
                          <a:pt x="0" y="617335"/>
                          <a:pt x="617335" y="0"/>
                          <a:pt x="1378857" y="0"/>
                        </a:cubicBezTo>
                        <a:close/>
                      </a:path>
                    </a:pathLst>
                  </a:custGeom>
                  <a:solidFill>
                    <a:schemeClr val="accent6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grpSp>
              <p:nvGrpSpPr>
                <p:cNvPr id="202" name="Group 201">
                  <a:extLst>
                    <a:ext uri="{FF2B5EF4-FFF2-40B4-BE49-F238E27FC236}">
                      <a16:creationId xmlns:a16="http://schemas.microsoft.com/office/drawing/2014/main" id="{2B4D1E71-A48C-4659-A29D-957C438169C1}"/>
                    </a:ext>
                  </a:extLst>
                </p:cNvPr>
                <p:cNvGrpSpPr/>
                <p:nvPr/>
              </p:nvGrpSpPr>
              <p:grpSpPr>
                <a:xfrm>
                  <a:off x="4194006" y="378736"/>
                  <a:ext cx="2280867" cy="2280867"/>
                  <a:chOff x="3193144" y="1833336"/>
                  <a:chExt cx="2757714" cy="2757714"/>
                </a:xfrm>
              </p:grpSpPr>
              <p:sp>
                <p:nvSpPr>
                  <p:cNvPr id="203" name="Freeform: Shape 202">
                    <a:extLst>
                      <a:ext uri="{FF2B5EF4-FFF2-40B4-BE49-F238E27FC236}">
                        <a16:creationId xmlns:a16="http://schemas.microsoft.com/office/drawing/2014/main" id="{A037DFB9-65AE-4DA2-839C-07FEE1D56B50}"/>
                      </a:ext>
                    </a:extLst>
                  </p:cNvPr>
                  <p:cNvSpPr/>
                  <p:nvPr/>
                </p:nvSpPr>
                <p:spPr>
                  <a:xfrm>
                    <a:off x="4572001" y="1833336"/>
                    <a:ext cx="1378857" cy="2757714"/>
                  </a:xfrm>
                  <a:custGeom>
                    <a:avLst/>
                    <a:gdLst>
                      <a:gd name="connsiteX0" fmla="*/ 0 w 1378857"/>
                      <a:gd name="connsiteY0" fmla="*/ 0 h 2757714"/>
                      <a:gd name="connsiteX1" fmla="*/ 1378857 w 1378857"/>
                      <a:gd name="connsiteY1" fmla="*/ 1378857 h 2757714"/>
                      <a:gd name="connsiteX2" fmla="*/ 0 w 1378857"/>
                      <a:gd name="connsiteY2" fmla="*/ 2757714 h 2757714"/>
                      <a:gd name="connsiteX3" fmla="*/ 0 w 1378857"/>
                      <a:gd name="connsiteY3" fmla="*/ 0 h 275771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78857" h="2757714">
                        <a:moveTo>
                          <a:pt x="0" y="0"/>
                        </a:moveTo>
                        <a:cubicBezTo>
                          <a:pt x="761522" y="0"/>
                          <a:pt x="1378857" y="617335"/>
                          <a:pt x="1378857" y="1378857"/>
                        </a:cubicBezTo>
                        <a:cubicBezTo>
                          <a:pt x="1378857" y="2140379"/>
                          <a:pt x="761522" y="2757714"/>
                          <a:pt x="0" y="2757714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accent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04" name="Freeform: Shape 203">
                    <a:extLst>
                      <a:ext uri="{FF2B5EF4-FFF2-40B4-BE49-F238E27FC236}">
                        <a16:creationId xmlns:a16="http://schemas.microsoft.com/office/drawing/2014/main" id="{82B0846F-3254-4498-A695-4A1764C059DE}"/>
                      </a:ext>
                    </a:extLst>
                  </p:cNvPr>
                  <p:cNvSpPr/>
                  <p:nvPr/>
                </p:nvSpPr>
                <p:spPr>
                  <a:xfrm>
                    <a:off x="3193144" y="1833336"/>
                    <a:ext cx="1378857" cy="2757714"/>
                  </a:xfrm>
                  <a:custGeom>
                    <a:avLst/>
                    <a:gdLst>
                      <a:gd name="connsiteX0" fmla="*/ 1378857 w 1378857"/>
                      <a:gd name="connsiteY0" fmla="*/ 0 h 2757714"/>
                      <a:gd name="connsiteX1" fmla="*/ 1378857 w 1378857"/>
                      <a:gd name="connsiteY1" fmla="*/ 2757714 h 2757714"/>
                      <a:gd name="connsiteX2" fmla="*/ 0 w 1378857"/>
                      <a:gd name="connsiteY2" fmla="*/ 1378857 h 2757714"/>
                      <a:gd name="connsiteX3" fmla="*/ 1378857 w 1378857"/>
                      <a:gd name="connsiteY3" fmla="*/ 0 h 275771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78857" h="2757714">
                        <a:moveTo>
                          <a:pt x="1378857" y="0"/>
                        </a:moveTo>
                        <a:lnTo>
                          <a:pt x="1378857" y="2757714"/>
                        </a:lnTo>
                        <a:cubicBezTo>
                          <a:pt x="617335" y="2757714"/>
                          <a:pt x="0" y="2140379"/>
                          <a:pt x="0" y="1378857"/>
                        </a:cubicBezTo>
                        <a:cubicBezTo>
                          <a:pt x="0" y="617335"/>
                          <a:pt x="617335" y="0"/>
                          <a:pt x="1378857" y="0"/>
                        </a:cubicBezTo>
                        <a:close/>
                      </a:path>
                    </a:pathLst>
                  </a:custGeom>
                  <a:solidFill>
                    <a:schemeClr val="accent6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</p:grpSp>
        </p:grpSp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3C0A6156-AB4B-41BF-8058-D18E35654EAD}"/>
              </a:ext>
            </a:extLst>
          </p:cNvPr>
          <p:cNvGrpSpPr/>
          <p:nvPr/>
        </p:nvGrpSpPr>
        <p:grpSpPr>
          <a:xfrm>
            <a:off x="2910567" y="5959222"/>
            <a:ext cx="1024762" cy="723212"/>
            <a:chOff x="2102523" y="2013100"/>
            <a:chExt cx="2983284" cy="2105412"/>
          </a:xfrm>
        </p:grpSpPr>
        <p:sp>
          <p:nvSpPr>
            <p:cNvPr id="219" name="Oval 218">
              <a:extLst>
                <a:ext uri="{FF2B5EF4-FFF2-40B4-BE49-F238E27FC236}">
                  <a16:creationId xmlns:a16="http://schemas.microsoft.com/office/drawing/2014/main" id="{3B9446BF-EB8B-4585-A4CE-541A0EC14B4E}"/>
                </a:ext>
              </a:extLst>
            </p:cNvPr>
            <p:cNvSpPr/>
            <p:nvPr/>
          </p:nvSpPr>
          <p:spPr>
            <a:xfrm>
              <a:off x="2102523" y="3609421"/>
              <a:ext cx="2717042" cy="509091"/>
            </a:xfrm>
            <a:prstGeom prst="ellipse">
              <a:avLst/>
            </a:prstGeom>
            <a:solidFill>
              <a:schemeClr val="tx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20" name="Group 219">
              <a:extLst>
                <a:ext uri="{FF2B5EF4-FFF2-40B4-BE49-F238E27FC236}">
                  <a16:creationId xmlns:a16="http://schemas.microsoft.com/office/drawing/2014/main" id="{AF961284-1CE6-4E59-8C63-8285F395FCBA}"/>
                </a:ext>
              </a:extLst>
            </p:cNvPr>
            <p:cNvGrpSpPr/>
            <p:nvPr/>
          </p:nvGrpSpPr>
          <p:grpSpPr>
            <a:xfrm>
              <a:off x="2190105" y="2013100"/>
              <a:ext cx="2895702" cy="1916560"/>
              <a:chOff x="2190105" y="2013100"/>
              <a:chExt cx="2895702" cy="1916560"/>
            </a:xfrm>
          </p:grpSpPr>
          <p:sp>
            <p:nvSpPr>
              <p:cNvPr id="221" name="Freeform: Shape 220">
                <a:extLst>
                  <a:ext uri="{FF2B5EF4-FFF2-40B4-BE49-F238E27FC236}">
                    <a16:creationId xmlns:a16="http://schemas.microsoft.com/office/drawing/2014/main" id="{8F42D5A0-3754-48EF-B200-DB0DA7948920}"/>
                  </a:ext>
                </a:extLst>
              </p:cNvPr>
              <p:cNvSpPr/>
              <p:nvPr/>
            </p:nvSpPr>
            <p:spPr>
              <a:xfrm>
                <a:off x="2190105" y="2013100"/>
                <a:ext cx="2895702" cy="1850867"/>
              </a:xfrm>
              <a:custGeom>
                <a:avLst/>
                <a:gdLst>
                  <a:gd name="connsiteX0" fmla="*/ 2480054 w 2895702"/>
                  <a:gd name="connsiteY0" fmla="*/ 97 h 1850867"/>
                  <a:gd name="connsiteX1" fmla="*/ 2569632 w 2895702"/>
                  <a:gd name="connsiteY1" fmla="*/ 16258 h 1850867"/>
                  <a:gd name="connsiteX2" fmla="*/ 2729006 w 2895702"/>
                  <a:gd name="connsiteY2" fmla="*/ 64036 h 1850867"/>
                  <a:gd name="connsiteX3" fmla="*/ 2481527 w 2895702"/>
                  <a:gd name="connsiteY3" fmla="*/ 112377 h 1850867"/>
                  <a:gd name="connsiteX4" fmla="*/ 2736863 w 2895702"/>
                  <a:gd name="connsiteY4" fmla="*/ 296184 h 1850867"/>
                  <a:gd name="connsiteX5" fmla="*/ 2832824 w 2895702"/>
                  <a:gd name="connsiteY5" fmla="*/ 535638 h 1850867"/>
                  <a:gd name="connsiteX6" fmla="*/ 2449540 w 2895702"/>
                  <a:gd name="connsiteY6" fmla="*/ 599718 h 1850867"/>
                  <a:gd name="connsiteX7" fmla="*/ 2414902 w 2895702"/>
                  <a:gd name="connsiteY7" fmla="*/ 622253 h 1850867"/>
                  <a:gd name="connsiteX8" fmla="*/ 2387056 w 2895702"/>
                  <a:gd name="connsiteY8" fmla="*/ 649489 h 1850867"/>
                  <a:gd name="connsiteX9" fmla="*/ 2380369 w 2895702"/>
                  <a:gd name="connsiteY9" fmla="*/ 630869 h 1850867"/>
                  <a:gd name="connsiteX10" fmla="*/ 2362844 w 2895702"/>
                  <a:gd name="connsiteY10" fmla="*/ 515788 h 1850867"/>
                  <a:gd name="connsiteX11" fmla="*/ 2215207 w 2895702"/>
                  <a:gd name="connsiteY11" fmla="*/ 487213 h 1850867"/>
                  <a:gd name="connsiteX12" fmla="*/ 2119957 w 2895702"/>
                  <a:gd name="connsiteY12" fmla="*/ 539600 h 1850867"/>
                  <a:gd name="connsiteX13" fmla="*/ 2119957 w 2895702"/>
                  <a:gd name="connsiteY13" fmla="*/ 706288 h 1850867"/>
                  <a:gd name="connsiteX14" fmla="*/ 2210444 w 2895702"/>
                  <a:gd name="connsiteY14" fmla="*/ 939650 h 1850867"/>
                  <a:gd name="connsiteX15" fmla="*/ 2228155 w 2895702"/>
                  <a:gd name="connsiteY15" fmla="*/ 961230 h 1850867"/>
                  <a:gd name="connsiteX16" fmla="*/ 2222965 w 2895702"/>
                  <a:gd name="connsiteY16" fmla="*/ 972829 h 1850867"/>
                  <a:gd name="connsiteX17" fmla="*/ 2193082 w 2895702"/>
                  <a:gd name="connsiteY17" fmla="*/ 1041669 h 1850867"/>
                  <a:gd name="connsiteX18" fmla="*/ 2172855 w 2895702"/>
                  <a:gd name="connsiteY18" fmla="*/ 1085691 h 1850867"/>
                  <a:gd name="connsiteX19" fmla="*/ 2166282 w 2895702"/>
                  <a:gd name="connsiteY19" fmla="*/ 1084690 h 1850867"/>
                  <a:gd name="connsiteX20" fmla="*/ 1966257 w 2895702"/>
                  <a:gd name="connsiteY20" fmla="*/ 1083391 h 1850867"/>
                  <a:gd name="connsiteX21" fmla="*/ 1748048 w 2895702"/>
                  <a:gd name="connsiteY21" fmla="*/ 1197691 h 1850867"/>
                  <a:gd name="connsiteX22" fmla="*/ 1800002 w 2895702"/>
                  <a:gd name="connsiteY22" fmla="*/ 1395118 h 1850867"/>
                  <a:gd name="connsiteX23" fmla="*/ 1922745 w 2895702"/>
                  <a:gd name="connsiteY23" fmla="*/ 1485389 h 1850867"/>
                  <a:gd name="connsiteX24" fmla="*/ 1953145 w 2895702"/>
                  <a:gd name="connsiteY24" fmla="*/ 1499410 h 1850867"/>
                  <a:gd name="connsiteX25" fmla="*/ 1969988 w 2895702"/>
                  <a:gd name="connsiteY25" fmla="*/ 1599000 h 1850867"/>
                  <a:gd name="connsiteX26" fmla="*/ 1994986 w 2895702"/>
                  <a:gd name="connsiteY26" fmla="*/ 1686820 h 1850867"/>
                  <a:gd name="connsiteX27" fmla="*/ 2045071 w 2895702"/>
                  <a:gd name="connsiteY27" fmla="*/ 1786171 h 1850867"/>
                  <a:gd name="connsiteX28" fmla="*/ 2049713 w 2895702"/>
                  <a:gd name="connsiteY28" fmla="*/ 1796151 h 1850867"/>
                  <a:gd name="connsiteX29" fmla="*/ 2000894 w 2895702"/>
                  <a:gd name="connsiteY29" fmla="*/ 1794519 h 1850867"/>
                  <a:gd name="connsiteX30" fmla="*/ 1924525 w 2895702"/>
                  <a:gd name="connsiteY30" fmla="*/ 1798364 h 1850867"/>
                  <a:gd name="connsiteX31" fmla="*/ 1923155 w 2895702"/>
                  <a:gd name="connsiteY31" fmla="*/ 1790808 h 1850867"/>
                  <a:gd name="connsiteX32" fmla="*/ 1867038 w 2895702"/>
                  <a:gd name="connsiteY32" fmla="*/ 1614871 h 1850867"/>
                  <a:gd name="connsiteX33" fmla="*/ 1795207 w 2895702"/>
                  <a:gd name="connsiteY33" fmla="*/ 1423195 h 1850867"/>
                  <a:gd name="connsiteX34" fmla="*/ 1795207 w 2895702"/>
                  <a:gd name="connsiteY34" fmla="*/ 1694689 h 1850867"/>
                  <a:gd name="connsiteX35" fmla="*/ 1825651 w 2895702"/>
                  <a:gd name="connsiteY35" fmla="*/ 1801909 h 1850867"/>
                  <a:gd name="connsiteX36" fmla="*/ 1828692 w 2895702"/>
                  <a:gd name="connsiteY36" fmla="*/ 1808083 h 1850867"/>
                  <a:gd name="connsiteX37" fmla="*/ 1802834 w 2895702"/>
                  <a:gd name="connsiteY37" fmla="*/ 1812735 h 1850867"/>
                  <a:gd name="connsiteX38" fmla="*/ 1703714 w 2895702"/>
                  <a:gd name="connsiteY38" fmla="*/ 1850240 h 1850867"/>
                  <a:gd name="connsiteX39" fmla="*/ 1700744 w 2895702"/>
                  <a:gd name="connsiteY39" fmla="*/ 1850867 h 1850867"/>
                  <a:gd name="connsiteX40" fmla="*/ 1699807 w 2895702"/>
                  <a:gd name="connsiteY40" fmla="*/ 1846456 h 1850867"/>
                  <a:gd name="connsiteX41" fmla="*/ 1659963 w 2895702"/>
                  <a:gd name="connsiteY41" fmla="*/ 1798677 h 1850867"/>
                  <a:gd name="connsiteX42" fmla="*/ 1643689 w 2895702"/>
                  <a:gd name="connsiteY42" fmla="*/ 1542922 h 1850867"/>
                  <a:gd name="connsiteX43" fmla="*/ 1516302 w 2895702"/>
                  <a:gd name="connsiteY43" fmla="*/ 1255127 h 1850867"/>
                  <a:gd name="connsiteX44" fmla="*/ 1053330 w 2895702"/>
                  <a:gd name="connsiteY44" fmla="*/ 1262996 h 1850867"/>
                  <a:gd name="connsiteX45" fmla="*/ 901812 w 2895702"/>
                  <a:gd name="connsiteY45" fmla="*/ 1302905 h 1850867"/>
                  <a:gd name="connsiteX46" fmla="*/ 845695 w 2895702"/>
                  <a:gd name="connsiteY46" fmla="*/ 1359115 h 1850867"/>
                  <a:gd name="connsiteX47" fmla="*/ 790138 w 2895702"/>
                  <a:gd name="connsiteY47" fmla="*/ 1366984 h 1850867"/>
                  <a:gd name="connsiteX48" fmla="*/ 726164 w 2895702"/>
                  <a:gd name="connsiteY48" fmla="*/ 1383285 h 1850867"/>
                  <a:gd name="connsiteX49" fmla="*/ 662190 w 2895702"/>
                  <a:gd name="connsiteY49" fmla="*/ 1351246 h 1850867"/>
                  <a:gd name="connsiteX50" fmla="*/ 638059 w 2895702"/>
                  <a:gd name="connsiteY50" fmla="*/ 1527183 h 1850867"/>
                  <a:gd name="connsiteX51" fmla="*/ 747042 w 2895702"/>
                  <a:gd name="connsiteY51" fmla="*/ 1797834 h 1850867"/>
                  <a:gd name="connsiteX52" fmla="*/ 749930 w 2895702"/>
                  <a:gd name="connsiteY52" fmla="*/ 1807367 h 1850867"/>
                  <a:gd name="connsiteX53" fmla="*/ 735974 w 2895702"/>
                  <a:gd name="connsiteY53" fmla="*/ 1804996 h 1850867"/>
                  <a:gd name="connsiteX54" fmla="*/ 614054 w 2895702"/>
                  <a:gd name="connsiteY54" fmla="*/ 1789280 h 1850867"/>
                  <a:gd name="connsiteX55" fmla="*/ 598359 w 2895702"/>
                  <a:gd name="connsiteY55" fmla="*/ 1790442 h 1850867"/>
                  <a:gd name="connsiteX56" fmla="*/ 586999 w 2895702"/>
                  <a:gd name="connsiteY56" fmla="*/ 1761155 h 1850867"/>
                  <a:gd name="connsiteX57" fmla="*/ 558372 w 2895702"/>
                  <a:gd name="connsiteY57" fmla="*/ 1599132 h 1850867"/>
                  <a:gd name="connsiteX58" fmla="*/ 423128 w 2895702"/>
                  <a:gd name="connsiteY58" fmla="*/ 1295036 h 1850867"/>
                  <a:gd name="connsiteX59" fmla="*/ 359154 w 2895702"/>
                  <a:gd name="connsiteY59" fmla="*/ 1671081 h 1850867"/>
                  <a:gd name="connsiteX60" fmla="*/ 378585 w 2895702"/>
                  <a:gd name="connsiteY60" fmla="*/ 1750126 h 1850867"/>
                  <a:gd name="connsiteX61" fmla="*/ 405244 w 2895702"/>
                  <a:gd name="connsiteY61" fmla="*/ 1818706 h 1850867"/>
                  <a:gd name="connsiteX62" fmla="*/ 377834 w 2895702"/>
                  <a:gd name="connsiteY62" fmla="*/ 1819760 h 1850867"/>
                  <a:gd name="connsiteX63" fmla="*/ 291157 w 2895702"/>
                  <a:gd name="connsiteY63" fmla="*/ 1812616 h 1850867"/>
                  <a:gd name="connsiteX64" fmla="*/ 285747 w 2895702"/>
                  <a:gd name="connsiteY64" fmla="*/ 1812721 h 1850867"/>
                  <a:gd name="connsiteX65" fmla="*/ 274057 w 2895702"/>
                  <a:gd name="connsiteY65" fmla="*/ 1800153 h 1850867"/>
                  <a:gd name="connsiteX66" fmla="*/ 231205 w 2895702"/>
                  <a:gd name="connsiteY66" fmla="*/ 1766638 h 1850867"/>
                  <a:gd name="connsiteX67" fmla="*/ 239062 w 2895702"/>
                  <a:gd name="connsiteY67" fmla="*/ 1590700 h 1850867"/>
                  <a:gd name="connsiteX68" fmla="*/ 191362 w 2895702"/>
                  <a:gd name="connsiteY68" fmla="*/ 1415325 h 1850867"/>
                  <a:gd name="connsiteX69" fmla="*/ 239062 w 2895702"/>
                  <a:gd name="connsiteY69" fmla="*/ 1247257 h 1850867"/>
                  <a:gd name="connsiteX70" fmla="*/ 263192 w 2895702"/>
                  <a:gd name="connsiteY70" fmla="*/ 455820 h 1850867"/>
                  <a:gd name="connsiteX71" fmla="*/ 167231 w 2895702"/>
                  <a:gd name="connsiteY71" fmla="*/ 863343 h 1850867"/>
                  <a:gd name="connsiteX72" fmla="*/ 135805 w 2895702"/>
                  <a:gd name="connsiteY72" fmla="*/ 1087621 h 1850867"/>
                  <a:gd name="connsiteX73" fmla="*/ 63974 w 2895702"/>
                  <a:gd name="connsiteY73" fmla="*/ 1238826 h 1850867"/>
                  <a:gd name="connsiteX74" fmla="*/ 63974 w 2895702"/>
                  <a:gd name="connsiteY74" fmla="*/ 1239388 h 1850867"/>
                  <a:gd name="connsiteX75" fmla="*/ 0 w 2895702"/>
                  <a:gd name="connsiteY75" fmla="*/ 1311337 h 1850867"/>
                  <a:gd name="connsiteX76" fmla="*/ 31987 w 2895702"/>
                  <a:gd name="connsiteY76" fmla="*/ 1111229 h 1850867"/>
                  <a:gd name="connsiteX77" fmla="*/ 103818 w 2895702"/>
                  <a:gd name="connsiteY77" fmla="*/ 951592 h 1850867"/>
                  <a:gd name="connsiteX78" fmla="*/ 159375 w 2895702"/>
                  <a:gd name="connsiteY78" fmla="*/ 591848 h 1850867"/>
                  <a:gd name="connsiteX79" fmla="*/ 319310 w 2895702"/>
                  <a:gd name="connsiteY79" fmla="*/ 296184 h 1850867"/>
                  <a:gd name="connsiteX80" fmla="*/ 622030 w 2895702"/>
                  <a:gd name="connsiteY80" fmla="*/ 269308 h 1850867"/>
                  <a:gd name="connsiteX81" fmla="*/ 724248 w 2895702"/>
                  <a:gd name="connsiteY81" fmla="*/ 279689 h 1850867"/>
                  <a:gd name="connsiteX82" fmla="*/ 753767 w 2895702"/>
                  <a:gd name="connsiteY82" fmla="*/ 319009 h 1850867"/>
                  <a:gd name="connsiteX83" fmla="*/ 1010292 w 2895702"/>
                  <a:gd name="connsiteY83" fmla="*/ 501499 h 1850867"/>
                  <a:gd name="connsiteX84" fmla="*/ 1758437 w 2895702"/>
                  <a:gd name="connsiteY84" fmla="*/ 532672 h 1850867"/>
                  <a:gd name="connsiteX85" fmla="*/ 1957813 w 2895702"/>
                  <a:gd name="connsiteY85" fmla="*/ 280043 h 1850867"/>
                  <a:gd name="connsiteX86" fmla="*/ 1973660 w 2895702"/>
                  <a:gd name="connsiteY86" fmla="*/ 234754 h 1850867"/>
                  <a:gd name="connsiteX87" fmla="*/ 2058960 w 2895702"/>
                  <a:gd name="connsiteY87" fmla="*/ 239974 h 1850867"/>
                  <a:gd name="connsiteX88" fmla="*/ 2250322 w 2895702"/>
                  <a:gd name="connsiteY88" fmla="*/ 192195 h 1850867"/>
                  <a:gd name="connsiteX89" fmla="*/ 2282309 w 2895702"/>
                  <a:gd name="connsiteY89" fmla="*/ 72468 h 1850867"/>
                  <a:gd name="connsiteX90" fmla="*/ 2354140 w 2895702"/>
                  <a:gd name="connsiteY90" fmla="*/ 112377 h 1850867"/>
                  <a:gd name="connsiteX91" fmla="*/ 2401840 w 2895702"/>
                  <a:gd name="connsiteY91" fmla="*/ 40428 h 1850867"/>
                  <a:gd name="connsiteX92" fmla="*/ 2480054 w 2895702"/>
                  <a:gd name="connsiteY92" fmla="*/ 97 h 1850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</a:cxnLst>
                <a:rect l="l" t="t" r="r" b="b"/>
                <a:pathLst>
                  <a:path w="2895702" h="1850867">
                    <a:moveTo>
                      <a:pt x="2480054" y="97"/>
                    </a:moveTo>
                    <a:cubicBezTo>
                      <a:pt x="2504816" y="1222"/>
                      <a:pt x="2531472" y="11761"/>
                      <a:pt x="2569632" y="16258"/>
                    </a:cubicBezTo>
                    <a:cubicBezTo>
                      <a:pt x="2635851" y="24127"/>
                      <a:pt x="2813183" y="-11285"/>
                      <a:pt x="2729006" y="64036"/>
                    </a:cubicBezTo>
                    <a:cubicBezTo>
                      <a:pt x="2684112" y="104507"/>
                      <a:pt x="2539328" y="107880"/>
                      <a:pt x="2481527" y="112377"/>
                    </a:cubicBezTo>
                    <a:cubicBezTo>
                      <a:pt x="2584784" y="153410"/>
                      <a:pt x="2669522" y="228732"/>
                      <a:pt x="2736863" y="296184"/>
                    </a:cubicBezTo>
                    <a:cubicBezTo>
                      <a:pt x="2817672" y="377126"/>
                      <a:pt x="2987709" y="460317"/>
                      <a:pt x="2832824" y="535638"/>
                    </a:cubicBezTo>
                    <a:cubicBezTo>
                      <a:pt x="2727323" y="587351"/>
                      <a:pt x="2554480" y="547442"/>
                      <a:pt x="2449540" y="599718"/>
                    </a:cubicBezTo>
                    <a:cubicBezTo>
                      <a:pt x="2437124" y="605972"/>
                      <a:pt x="2425629" y="613542"/>
                      <a:pt x="2414902" y="622253"/>
                    </a:cubicBezTo>
                    <a:lnTo>
                      <a:pt x="2387056" y="649489"/>
                    </a:lnTo>
                    <a:lnTo>
                      <a:pt x="2380369" y="630869"/>
                    </a:lnTo>
                    <a:cubicBezTo>
                      <a:pt x="2368053" y="581570"/>
                      <a:pt x="2386657" y="540195"/>
                      <a:pt x="2362844" y="515788"/>
                    </a:cubicBezTo>
                    <a:cubicBezTo>
                      <a:pt x="2331094" y="483245"/>
                      <a:pt x="2255688" y="483244"/>
                      <a:pt x="2215207" y="487213"/>
                    </a:cubicBezTo>
                    <a:cubicBezTo>
                      <a:pt x="2174726" y="491182"/>
                      <a:pt x="2135832" y="503087"/>
                      <a:pt x="2119957" y="539600"/>
                    </a:cubicBezTo>
                    <a:cubicBezTo>
                      <a:pt x="2104082" y="576112"/>
                      <a:pt x="2104876" y="639613"/>
                      <a:pt x="2119957" y="706288"/>
                    </a:cubicBezTo>
                    <a:cubicBezTo>
                      <a:pt x="2135038" y="772963"/>
                      <a:pt x="2162025" y="876944"/>
                      <a:pt x="2210444" y="939650"/>
                    </a:cubicBezTo>
                    <a:lnTo>
                      <a:pt x="2228155" y="961230"/>
                    </a:lnTo>
                    <a:lnTo>
                      <a:pt x="2222965" y="972829"/>
                    </a:lnTo>
                    <a:cubicBezTo>
                      <a:pt x="2213355" y="994979"/>
                      <a:pt x="2203324" y="1018412"/>
                      <a:pt x="2193082" y="1041669"/>
                    </a:cubicBezTo>
                    <a:lnTo>
                      <a:pt x="2172855" y="1085691"/>
                    </a:lnTo>
                    <a:lnTo>
                      <a:pt x="2166282" y="1084690"/>
                    </a:lnTo>
                    <a:cubicBezTo>
                      <a:pt x="2094412" y="1076896"/>
                      <a:pt x="2013016" y="1079061"/>
                      <a:pt x="1966257" y="1083391"/>
                    </a:cubicBezTo>
                    <a:cubicBezTo>
                      <a:pt x="1872739" y="1092050"/>
                      <a:pt x="1775757" y="1145737"/>
                      <a:pt x="1748048" y="1197691"/>
                    </a:cubicBezTo>
                    <a:cubicBezTo>
                      <a:pt x="1720339" y="1249645"/>
                      <a:pt x="1746316" y="1343163"/>
                      <a:pt x="1800002" y="1395118"/>
                    </a:cubicBezTo>
                    <a:cubicBezTo>
                      <a:pt x="1826845" y="1421096"/>
                      <a:pt x="1872738" y="1458763"/>
                      <a:pt x="1922745" y="1485389"/>
                    </a:cubicBezTo>
                    <a:lnTo>
                      <a:pt x="1953145" y="1499410"/>
                    </a:lnTo>
                    <a:lnTo>
                      <a:pt x="1969988" y="1599000"/>
                    </a:lnTo>
                    <a:cubicBezTo>
                      <a:pt x="1977941" y="1634123"/>
                      <a:pt x="1986849" y="1664898"/>
                      <a:pt x="1994986" y="1686820"/>
                    </a:cubicBezTo>
                    <a:cubicBezTo>
                      <a:pt x="2009296" y="1725604"/>
                      <a:pt x="2028236" y="1755115"/>
                      <a:pt x="2045071" y="1786171"/>
                    </a:cubicBezTo>
                    <a:lnTo>
                      <a:pt x="2049713" y="1796151"/>
                    </a:lnTo>
                    <a:lnTo>
                      <a:pt x="2000894" y="1794519"/>
                    </a:lnTo>
                    <a:lnTo>
                      <a:pt x="1924525" y="1798364"/>
                    </a:lnTo>
                    <a:lnTo>
                      <a:pt x="1923155" y="1790808"/>
                    </a:lnTo>
                    <a:cubicBezTo>
                      <a:pt x="1868721" y="1834090"/>
                      <a:pt x="1877139" y="1664898"/>
                      <a:pt x="1867038" y="1614871"/>
                    </a:cubicBezTo>
                    <a:cubicBezTo>
                      <a:pt x="1858059" y="1569341"/>
                      <a:pt x="1829439" y="1391155"/>
                      <a:pt x="1795207" y="1423195"/>
                    </a:cubicBezTo>
                    <a:cubicBezTo>
                      <a:pt x="1759292" y="1456358"/>
                      <a:pt x="1789595" y="1647472"/>
                      <a:pt x="1795207" y="1694689"/>
                    </a:cubicBezTo>
                    <a:cubicBezTo>
                      <a:pt x="1801100" y="1743872"/>
                      <a:pt x="1812463" y="1774085"/>
                      <a:pt x="1825651" y="1801909"/>
                    </a:cubicBezTo>
                    <a:lnTo>
                      <a:pt x="1828692" y="1808083"/>
                    </a:lnTo>
                    <a:lnTo>
                      <a:pt x="1802834" y="1812735"/>
                    </a:lnTo>
                    <a:cubicBezTo>
                      <a:pt x="1764436" y="1823808"/>
                      <a:pt x="1743719" y="1841668"/>
                      <a:pt x="1703714" y="1850240"/>
                    </a:cubicBezTo>
                    <a:lnTo>
                      <a:pt x="1700744" y="1850867"/>
                    </a:lnTo>
                    <a:lnTo>
                      <a:pt x="1699807" y="1846456"/>
                    </a:lnTo>
                    <a:cubicBezTo>
                      <a:pt x="1704296" y="1850391"/>
                      <a:pt x="1652107" y="1773383"/>
                      <a:pt x="1659963" y="1798677"/>
                    </a:cubicBezTo>
                    <a:cubicBezTo>
                      <a:pt x="1641444" y="1736846"/>
                      <a:pt x="1651546" y="1609812"/>
                      <a:pt x="1643689" y="1542922"/>
                    </a:cubicBezTo>
                    <a:cubicBezTo>
                      <a:pt x="1631343" y="1436685"/>
                      <a:pt x="1587010" y="1286604"/>
                      <a:pt x="1516302" y="1255127"/>
                    </a:cubicBezTo>
                    <a:cubicBezTo>
                      <a:pt x="1428197" y="1215780"/>
                      <a:pt x="1175106" y="1272552"/>
                      <a:pt x="1053330" y="1262996"/>
                    </a:cubicBezTo>
                    <a:cubicBezTo>
                      <a:pt x="952318" y="1255689"/>
                      <a:pt x="956247" y="1251192"/>
                      <a:pt x="901812" y="1302905"/>
                    </a:cubicBezTo>
                    <a:cubicBezTo>
                      <a:pt x="881049" y="1322579"/>
                      <a:pt x="875437" y="1344500"/>
                      <a:pt x="845695" y="1359115"/>
                    </a:cubicBezTo>
                    <a:cubicBezTo>
                      <a:pt x="812585" y="1375416"/>
                      <a:pt x="815391" y="1360801"/>
                      <a:pt x="790138" y="1366984"/>
                    </a:cubicBezTo>
                    <a:cubicBezTo>
                      <a:pt x="815391" y="1360801"/>
                      <a:pt x="697544" y="1379351"/>
                      <a:pt x="726164" y="1383285"/>
                    </a:cubicBezTo>
                    <a:cubicBezTo>
                      <a:pt x="712134" y="1381599"/>
                      <a:pt x="666679" y="1350684"/>
                      <a:pt x="662190" y="1351246"/>
                    </a:cubicBezTo>
                    <a:cubicBezTo>
                      <a:pt x="588675" y="1361363"/>
                      <a:pt x="617295" y="1440620"/>
                      <a:pt x="638059" y="1527183"/>
                    </a:cubicBezTo>
                    <a:cubicBezTo>
                      <a:pt x="666258" y="1643959"/>
                      <a:pt x="714029" y="1715205"/>
                      <a:pt x="747042" y="1797834"/>
                    </a:cubicBezTo>
                    <a:lnTo>
                      <a:pt x="749930" y="1807367"/>
                    </a:lnTo>
                    <a:lnTo>
                      <a:pt x="735974" y="1804996"/>
                    </a:lnTo>
                    <a:cubicBezTo>
                      <a:pt x="690889" y="1797535"/>
                      <a:pt x="639454" y="1789915"/>
                      <a:pt x="614054" y="1789280"/>
                    </a:cubicBezTo>
                    <a:lnTo>
                      <a:pt x="598359" y="1790442"/>
                    </a:lnTo>
                    <a:lnTo>
                      <a:pt x="586999" y="1761155"/>
                    </a:lnTo>
                    <a:cubicBezTo>
                      <a:pt x="573629" y="1715408"/>
                      <a:pt x="568052" y="1659839"/>
                      <a:pt x="558372" y="1599132"/>
                    </a:cubicBezTo>
                    <a:cubicBezTo>
                      <a:pt x="544342" y="1509758"/>
                      <a:pt x="485419" y="1336069"/>
                      <a:pt x="423128" y="1295036"/>
                    </a:cubicBezTo>
                    <a:cubicBezTo>
                      <a:pt x="369816" y="1391155"/>
                      <a:pt x="341196" y="1523810"/>
                      <a:pt x="359154" y="1671081"/>
                    </a:cubicBezTo>
                    <a:cubicBezTo>
                      <a:pt x="362241" y="1697780"/>
                      <a:pt x="369676" y="1724480"/>
                      <a:pt x="378585" y="1750126"/>
                    </a:cubicBezTo>
                    <a:lnTo>
                      <a:pt x="405244" y="1818706"/>
                    </a:lnTo>
                    <a:lnTo>
                      <a:pt x="377834" y="1819760"/>
                    </a:lnTo>
                    <a:cubicBezTo>
                      <a:pt x="377834" y="1819760"/>
                      <a:pt x="335924" y="1814363"/>
                      <a:pt x="291157" y="1812616"/>
                    </a:cubicBezTo>
                    <a:lnTo>
                      <a:pt x="285747" y="1812721"/>
                    </a:lnTo>
                    <a:lnTo>
                      <a:pt x="274057" y="1800153"/>
                    </a:lnTo>
                    <a:cubicBezTo>
                      <a:pt x="258668" y="1789930"/>
                      <a:pt x="238781" y="1788560"/>
                      <a:pt x="231205" y="1766638"/>
                    </a:cubicBezTo>
                    <a:cubicBezTo>
                      <a:pt x="212125" y="1708741"/>
                      <a:pt x="239062" y="1651407"/>
                      <a:pt x="239062" y="1590700"/>
                    </a:cubicBezTo>
                    <a:cubicBezTo>
                      <a:pt x="239062" y="1524373"/>
                      <a:pt x="196973" y="1465914"/>
                      <a:pt x="191362" y="1415325"/>
                    </a:cubicBezTo>
                    <a:cubicBezTo>
                      <a:pt x="185189" y="1355742"/>
                      <a:pt x="221104" y="1307964"/>
                      <a:pt x="239062" y="1247257"/>
                    </a:cubicBezTo>
                    <a:cubicBezTo>
                      <a:pt x="302475" y="1037594"/>
                      <a:pt x="263192" y="708203"/>
                      <a:pt x="263192" y="455820"/>
                    </a:cubicBezTo>
                    <a:cubicBezTo>
                      <a:pt x="190800" y="589038"/>
                      <a:pt x="173404" y="700896"/>
                      <a:pt x="167231" y="863343"/>
                    </a:cubicBezTo>
                    <a:cubicBezTo>
                      <a:pt x="164986" y="938664"/>
                      <a:pt x="163303" y="1022979"/>
                      <a:pt x="135805" y="1087621"/>
                    </a:cubicBezTo>
                    <a:cubicBezTo>
                      <a:pt x="109991" y="1147765"/>
                      <a:pt x="67341" y="1168563"/>
                      <a:pt x="63974" y="1238826"/>
                    </a:cubicBezTo>
                    <a:lnTo>
                      <a:pt x="63974" y="1239388"/>
                    </a:lnTo>
                    <a:cubicBezTo>
                      <a:pt x="54996" y="1280421"/>
                      <a:pt x="38160" y="1301219"/>
                      <a:pt x="0" y="1311337"/>
                    </a:cubicBezTo>
                    <a:cubicBezTo>
                      <a:pt x="32548" y="1257937"/>
                      <a:pt x="19080" y="1189923"/>
                      <a:pt x="31987" y="1111229"/>
                    </a:cubicBezTo>
                    <a:cubicBezTo>
                      <a:pt x="44333" y="1033097"/>
                      <a:pt x="80249" y="1007240"/>
                      <a:pt x="103818" y="951592"/>
                    </a:cubicBezTo>
                    <a:cubicBezTo>
                      <a:pt x="139733" y="866153"/>
                      <a:pt x="134683" y="714948"/>
                      <a:pt x="159375" y="591848"/>
                    </a:cubicBezTo>
                    <a:cubicBezTo>
                      <a:pt x="185189" y="463127"/>
                      <a:pt x="227277" y="337217"/>
                      <a:pt x="319310" y="296184"/>
                    </a:cubicBezTo>
                    <a:cubicBezTo>
                      <a:pt x="404749" y="257820"/>
                      <a:pt x="515441" y="259928"/>
                      <a:pt x="622030" y="269308"/>
                    </a:cubicBezTo>
                    <a:lnTo>
                      <a:pt x="724248" y="279689"/>
                    </a:lnTo>
                    <a:lnTo>
                      <a:pt x="753767" y="319009"/>
                    </a:lnTo>
                    <a:cubicBezTo>
                      <a:pt x="821524" y="395858"/>
                      <a:pt x="921104" y="464265"/>
                      <a:pt x="1010292" y="501499"/>
                    </a:cubicBezTo>
                    <a:cubicBezTo>
                      <a:pt x="1188669" y="575967"/>
                      <a:pt x="1593914" y="619263"/>
                      <a:pt x="1758437" y="532672"/>
                    </a:cubicBezTo>
                    <a:cubicBezTo>
                      <a:pt x="1840699" y="489377"/>
                      <a:pt x="1912569" y="388498"/>
                      <a:pt x="1957813" y="280043"/>
                    </a:cubicBezTo>
                    <a:lnTo>
                      <a:pt x="1973660" y="234754"/>
                    </a:lnTo>
                    <a:lnTo>
                      <a:pt x="2058960" y="239974"/>
                    </a:lnTo>
                    <a:cubicBezTo>
                      <a:pt x="2141454" y="242784"/>
                      <a:pt x="2230120" y="252902"/>
                      <a:pt x="2250322" y="192195"/>
                    </a:cubicBezTo>
                    <a:cubicBezTo>
                      <a:pt x="2274453" y="119684"/>
                      <a:pt x="2188031" y="72468"/>
                      <a:pt x="2282309" y="72468"/>
                    </a:cubicBezTo>
                    <a:cubicBezTo>
                      <a:pt x="2309807" y="72468"/>
                      <a:pt x="2338427" y="115187"/>
                      <a:pt x="2354140" y="112377"/>
                    </a:cubicBezTo>
                    <a:cubicBezTo>
                      <a:pt x="2409135" y="101135"/>
                      <a:pt x="2373220" y="71906"/>
                      <a:pt x="2401840" y="40428"/>
                    </a:cubicBezTo>
                    <a:cubicBezTo>
                      <a:pt x="2432424" y="7264"/>
                      <a:pt x="2455292" y="-1027"/>
                      <a:pt x="2480054" y="97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22" name="Group 221">
                <a:extLst>
                  <a:ext uri="{FF2B5EF4-FFF2-40B4-BE49-F238E27FC236}">
                    <a16:creationId xmlns:a16="http://schemas.microsoft.com/office/drawing/2014/main" id="{1D7608ED-0677-4738-A9CE-65B1AC592343}"/>
                  </a:ext>
                </a:extLst>
              </p:cNvPr>
              <p:cNvGrpSpPr/>
              <p:nvPr/>
            </p:nvGrpSpPr>
            <p:grpSpPr>
              <a:xfrm>
                <a:off x="4628031" y="2253781"/>
                <a:ext cx="120787" cy="70163"/>
                <a:chOff x="3880384" y="5576888"/>
                <a:chExt cx="393660" cy="195262"/>
              </a:xfrm>
            </p:grpSpPr>
            <p:sp>
              <p:nvSpPr>
                <p:cNvPr id="231" name="Oval 230">
                  <a:extLst>
                    <a:ext uri="{FF2B5EF4-FFF2-40B4-BE49-F238E27FC236}">
                      <a16:creationId xmlns:a16="http://schemas.microsoft.com/office/drawing/2014/main" id="{AEDF6844-BAAD-408C-BD53-95B703E6DAB0}"/>
                    </a:ext>
                  </a:extLst>
                </p:cNvPr>
                <p:cNvSpPr/>
                <p:nvPr/>
              </p:nvSpPr>
              <p:spPr>
                <a:xfrm>
                  <a:off x="3880384" y="5576888"/>
                  <a:ext cx="393660" cy="195262"/>
                </a:xfrm>
                <a:prstGeom prst="ellipse">
                  <a:avLst/>
                </a:prstGeom>
                <a:solidFill>
                  <a:schemeClr val="tx1">
                    <a:lumMod val="95000"/>
                    <a:lumOff val="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32" name="Oval 231">
                  <a:extLst>
                    <a:ext uri="{FF2B5EF4-FFF2-40B4-BE49-F238E27FC236}">
                      <a16:creationId xmlns:a16="http://schemas.microsoft.com/office/drawing/2014/main" id="{7438FE5E-9A50-4668-8B80-371EED884D20}"/>
                    </a:ext>
                  </a:extLst>
                </p:cNvPr>
                <p:cNvSpPr/>
                <p:nvPr/>
              </p:nvSpPr>
              <p:spPr>
                <a:xfrm>
                  <a:off x="4159741" y="5641181"/>
                  <a:ext cx="66975" cy="66675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223" name="Freeform: Shape 222">
                <a:extLst>
                  <a:ext uri="{FF2B5EF4-FFF2-40B4-BE49-F238E27FC236}">
                    <a16:creationId xmlns:a16="http://schemas.microsoft.com/office/drawing/2014/main" id="{DED54780-6B52-44D1-9A3C-BC4C0FBA7C21}"/>
                  </a:ext>
                </a:extLst>
              </p:cNvPr>
              <p:cNvSpPr/>
              <p:nvPr/>
            </p:nvSpPr>
            <p:spPr>
              <a:xfrm>
                <a:off x="2914356" y="2231703"/>
                <a:ext cx="1249412" cy="361970"/>
              </a:xfrm>
              <a:custGeom>
                <a:avLst/>
                <a:gdLst>
                  <a:gd name="connsiteX0" fmla="*/ 989378 w 1249412"/>
                  <a:gd name="connsiteY0" fmla="*/ 30 h 361970"/>
                  <a:gd name="connsiteX1" fmla="*/ 1219601 w 1249412"/>
                  <a:gd name="connsiteY1" fmla="*/ 14328 h 361970"/>
                  <a:gd name="connsiteX2" fmla="*/ 1249412 w 1249412"/>
                  <a:gd name="connsiteY2" fmla="*/ 16152 h 361970"/>
                  <a:gd name="connsiteX3" fmla="*/ 1233565 w 1249412"/>
                  <a:gd name="connsiteY3" fmla="*/ 61441 h 361970"/>
                  <a:gd name="connsiteX4" fmla="*/ 1034189 w 1249412"/>
                  <a:gd name="connsiteY4" fmla="*/ 314070 h 361970"/>
                  <a:gd name="connsiteX5" fmla="*/ 286044 w 1249412"/>
                  <a:gd name="connsiteY5" fmla="*/ 282897 h 361970"/>
                  <a:gd name="connsiteX6" fmla="*/ 29519 w 1249412"/>
                  <a:gd name="connsiteY6" fmla="*/ 100407 h 361970"/>
                  <a:gd name="connsiteX7" fmla="*/ 0 w 1249412"/>
                  <a:gd name="connsiteY7" fmla="*/ 61087 h 361970"/>
                  <a:gd name="connsiteX8" fmla="*/ 1916 w 1249412"/>
                  <a:gd name="connsiteY8" fmla="*/ 61281 h 361970"/>
                  <a:gd name="connsiteX9" fmla="*/ 871741 w 1249412"/>
                  <a:gd name="connsiteY9" fmla="*/ 5633 h 361970"/>
                  <a:gd name="connsiteX10" fmla="*/ 989378 w 1249412"/>
                  <a:gd name="connsiteY10" fmla="*/ 30 h 3619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49412" h="361970">
                    <a:moveTo>
                      <a:pt x="989378" y="30"/>
                    </a:moveTo>
                    <a:cubicBezTo>
                      <a:pt x="1066961" y="557"/>
                      <a:pt x="1143141" y="8180"/>
                      <a:pt x="1219601" y="14328"/>
                    </a:cubicBezTo>
                    <a:lnTo>
                      <a:pt x="1249412" y="16152"/>
                    </a:lnTo>
                    <a:lnTo>
                      <a:pt x="1233565" y="61441"/>
                    </a:lnTo>
                    <a:cubicBezTo>
                      <a:pt x="1188321" y="169896"/>
                      <a:pt x="1116451" y="270775"/>
                      <a:pt x="1034189" y="314070"/>
                    </a:cubicBezTo>
                    <a:cubicBezTo>
                      <a:pt x="869666" y="400661"/>
                      <a:pt x="464421" y="357365"/>
                      <a:pt x="286044" y="282897"/>
                    </a:cubicBezTo>
                    <a:cubicBezTo>
                      <a:pt x="196856" y="245663"/>
                      <a:pt x="97276" y="177256"/>
                      <a:pt x="29519" y="100407"/>
                    </a:cubicBezTo>
                    <a:lnTo>
                      <a:pt x="0" y="61087"/>
                    </a:lnTo>
                    <a:lnTo>
                      <a:pt x="1916" y="61281"/>
                    </a:lnTo>
                    <a:cubicBezTo>
                      <a:pt x="303829" y="93882"/>
                      <a:pt x="584979" y="36548"/>
                      <a:pt x="871741" y="5633"/>
                    </a:cubicBezTo>
                    <a:cubicBezTo>
                      <a:pt x="911444" y="1277"/>
                      <a:pt x="950587" y="-234"/>
                      <a:pt x="989378" y="30"/>
                    </a:cubicBez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4" name="Freeform: Shape 223">
                <a:extLst>
                  <a:ext uri="{FF2B5EF4-FFF2-40B4-BE49-F238E27FC236}">
                    <a16:creationId xmlns:a16="http://schemas.microsoft.com/office/drawing/2014/main" id="{8B81614B-7EDA-4908-BF90-5E3047EE4397}"/>
                  </a:ext>
                </a:extLst>
              </p:cNvPr>
              <p:cNvSpPr/>
              <p:nvPr/>
            </p:nvSpPr>
            <p:spPr>
              <a:xfrm>
                <a:off x="3926935" y="3092590"/>
                <a:ext cx="436027" cy="419921"/>
              </a:xfrm>
              <a:custGeom>
                <a:avLst/>
                <a:gdLst>
                  <a:gd name="connsiteX0" fmla="*/ 320025 w 436027"/>
                  <a:gd name="connsiteY0" fmla="*/ 5 h 419921"/>
                  <a:gd name="connsiteX1" fmla="*/ 429454 w 436027"/>
                  <a:gd name="connsiteY1" fmla="*/ 5201 h 419921"/>
                  <a:gd name="connsiteX2" fmla="*/ 436027 w 436027"/>
                  <a:gd name="connsiteY2" fmla="*/ 6202 h 419921"/>
                  <a:gd name="connsiteX3" fmla="*/ 425108 w 436027"/>
                  <a:gd name="connsiteY3" fmla="*/ 29966 h 419921"/>
                  <a:gd name="connsiteX4" fmla="*/ 393963 w 436027"/>
                  <a:gd name="connsiteY4" fmla="*/ 87950 h 419921"/>
                  <a:gd name="connsiteX5" fmla="*/ 234028 w 436027"/>
                  <a:gd name="connsiteY5" fmla="*/ 207677 h 419921"/>
                  <a:gd name="connsiteX6" fmla="*/ 213896 w 436027"/>
                  <a:gd name="connsiteY6" fmla="*/ 405607 h 419921"/>
                  <a:gd name="connsiteX7" fmla="*/ 216317 w 436027"/>
                  <a:gd name="connsiteY7" fmla="*/ 419921 h 419921"/>
                  <a:gd name="connsiteX8" fmla="*/ 185917 w 436027"/>
                  <a:gd name="connsiteY8" fmla="*/ 405900 h 419921"/>
                  <a:gd name="connsiteX9" fmla="*/ 63174 w 436027"/>
                  <a:gd name="connsiteY9" fmla="*/ 315629 h 419921"/>
                  <a:gd name="connsiteX10" fmla="*/ 11220 w 436027"/>
                  <a:gd name="connsiteY10" fmla="*/ 118202 h 419921"/>
                  <a:gd name="connsiteX11" fmla="*/ 229429 w 436027"/>
                  <a:gd name="connsiteY11" fmla="*/ 3902 h 419921"/>
                  <a:gd name="connsiteX12" fmla="*/ 320025 w 436027"/>
                  <a:gd name="connsiteY12" fmla="*/ 5 h 4199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36027" h="419921">
                    <a:moveTo>
                      <a:pt x="320025" y="5"/>
                    </a:moveTo>
                    <a:cubicBezTo>
                      <a:pt x="355202" y="-103"/>
                      <a:pt x="393519" y="1304"/>
                      <a:pt x="429454" y="5201"/>
                    </a:cubicBezTo>
                    <a:lnTo>
                      <a:pt x="436027" y="6202"/>
                    </a:lnTo>
                    <a:lnTo>
                      <a:pt x="425108" y="29966"/>
                    </a:lnTo>
                    <a:cubicBezTo>
                      <a:pt x="414657" y="51414"/>
                      <a:pt x="404205" y="71228"/>
                      <a:pt x="393963" y="87950"/>
                    </a:cubicBezTo>
                    <a:cubicBezTo>
                      <a:pt x="354120" y="152029"/>
                      <a:pt x="267137" y="156526"/>
                      <a:pt x="234028" y="207677"/>
                    </a:cubicBezTo>
                    <a:cubicBezTo>
                      <a:pt x="207372" y="248992"/>
                      <a:pt x="205268" y="326983"/>
                      <a:pt x="213896" y="405607"/>
                    </a:cubicBezTo>
                    <a:lnTo>
                      <a:pt x="216317" y="419921"/>
                    </a:lnTo>
                    <a:lnTo>
                      <a:pt x="185917" y="405900"/>
                    </a:lnTo>
                    <a:cubicBezTo>
                      <a:pt x="135910" y="379274"/>
                      <a:pt x="90017" y="341607"/>
                      <a:pt x="63174" y="315629"/>
                    </a:cubicBezTo>
                    <a:cubicBezTo>
                      <a:pt x="9488" y="263674"/>
                      <a:pt x="-16489" y="170156"/>
                      <a:pt x="11220" y="118202"/>
                    </a:cubicBezTo>
                    <a:cubicBezTo>
                      <a:pt x="38929" y="66248"/>
                      <a:pt x="135911" y="12561"/>
                      <a:pt x="229429" y="3902"/>
                    </a:cubicBezTo>
                    <a:cubicBezTo>
                      <a:pt x="252809" y="1737"/>
                      <a:pt x="284847" y="114"/>
                      <a:pt x="320025" y="5"/>
                    </a:cubicBez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5" name="Freeform: Shape 224">
                <a:extLst>
                  <a:ext uri="{FF2B5EF4-FFF2-40B4-BE49-F238E27FC236}">
                    <a16:creationId xmlns:a16="http://schemas.microsoft.com/office/drawing/2014/main" id="{0E96DA25-607C-446D-9B52-E60D43F90FEA}"/>
                  </a:ext>
                </a:extLst>
              </p:cNvPr>
              <p:cNvSpPr/>
              <p:nvPr/>
            </p:nvSpPr>
            <p:spPr>
              <a:xfrm>
                <a:off x="2677357" y="2762236"/>
                <a:ext cx="983543" cy="427908"/>
              </a:xfrm>
              <a:custGeom>
                <a:avLst/>
                <a:gdLst>
                  <a:gd name="connsiteX0" fmla="*/ 117798 w 983543"/>
                  <a:gd name="connsiteY0" fmla="*/ 53700 h 427908"/>
                  <a:gd name="connsiteX1" fmla="*/ 3498 w 983543"/>
                  <a:gd name="connsiteY1" fmla="*/ 323864 h 427908"/>
                  <a:gd name="connsiteX2" fmla="*/ 252879 w 983543"/>
                  <a:gd name="connsiteY2" fmla="*/ 427773 h 427908"/>
                  <a:gd name="connsiteX3" fmla="*/ 564607 w 983543"/>
                  <a:gd name="connsiteY3" fmla="*/ 344646 h 427908"/>
                  <a:gd name="connsiteX4" fmla="*/ 793207 w 983543"/>
                  <a:gd name="connsiteY4" fmla="*/ 292691 h 427908"/>
                  <a:gd name="connsiteX5" fmla="*/ 959461 w 983543"/>
                  <a:gd name="connsiteY5" fmla="*/ 261519 h 427908"/>
                  <a:gd name="connsiteX6" fmla="*/ 907507 w 983543"/>
                  <a:gd name="connsiteY6" fmla="*/ 95264 h 427908"/>
                  <a:gd name="connsiteX7" fmla="*/ 273661 w 983543"/>
                  <a:gd name="connsiteY7" fmla="*/ 1746 h 427908"/>
                  <a:gd name="connsiteX8" fmla="*/ 117798 w 983543"/>
                  <a:gd name="connsiteY8" fmla="*/ 53700 h 427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83543" h="427908">
                    <a:moveTo>
                      <a:pt x="117798" y="53700"/>
                    </a:moveTo>
                    <a:cubicBezTo>
                      <a:pt x="72771" y="107386"/>
                      <a:pt x="-19015" y="261519"/>
                      <a:pt x="3498" y="323864"/>
                    </a:cubicBezTo>
                    <a:cubicBezTo>
                      <a:pt x="26011" y="386209"/>
                      <a:pt x="159361" y="424309"/>
                      <a:pt x="252879" y="427773"/>
                    </a:cubicBezTo>
                    <a:cubicBezTo>
                      <a:pt x="346397" y="431237"/>
                      <a:pt x="474552" y="367160"/>
                      <a:pt x="564607" y="344646"/>
                    </a:cubicBezTo>
                    <a:cubicBezTo>
                      <a:pt x="654662" y="322132"/>
                      <a:pt x="727398" y="306546"/>
                      <a:pt x="793207" y="292691"/>
                    </a:cubicBezTo>
                    <a:cubicBezTo>
                      <a:pt x="859016" y="278837"/>
                      <a:pt x="940411" y="294424"/>
                      <a:pt x="959461" y="261519"/>
                    </a:cubicBezTo>
                    <a:cubicBezTo>
                      <a:pt x="978511" y="228615"/>
                      <a:pt x="1021807" y="138559"/>
                      <a:pt x="907507" y="95264"/>
                    </a:cubicBezTo>
                    <a:cubicBezTo>
                      <a:pt x="793207" y="51969"/>
                      <a:pt x="401816" y="6941"/>
                      <a:pt x="273661" y="1746"/>
                    </a:cubicBezTo>
                    <a:cubicBezTo>
                      <a:pt x="145506" y="-3450"/>
                      <a:pt x="162825" y="14"/>
                      <a:pt x="117798" y="53700"/>
                    </a:cubicBez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6" name="Freeform: Shape 225">
                <a:extLst>
                  <a:ext uri="{FF2B5EF4-FFF2-40B4-BE49-F238E27FC236}">
                    <a16:creationId xmlns:a16="http://schemas.microsoft.com/office/drawing/2014/main" id="{7ABFA17A-8246-4554-878A-B1B1FA75E190}"/>
                  </a:ext>
                </a:extLst>
              </p:cNvPr>
              <p:cNvSpPr/>
              <p:nvPr/>
            </p:nvSpPr>
            <p:spPr>
              <a:xfrm>
                <a:off x="4298454" y="2498525"/>
                <a:ext cx="278709" cy="475805"/>
              </a:xfrm>
              <a:custGeom>
                <a:avLst/>
                <a:gdLst>
                  <a:gd name="connsiteX0" fmla="*/ 142541 w 278709"/>
                  <a:gd name="connsiteY0" fmla="*/ 2 h 475805"/>
                  <a:gd name="connsiteX1" fmla="*/ 254497 w 278709"/>
                  <a:gd name="connsiteY1" fmla="*/ 30363 h 475805"/>
                  <a:gd name="connsiteX2" fmla="*/ 272022 w 278709"/>
                  <a:gd name="connsiteY2" fmla="*/ 145444 h 475805"/>
                  <a:gd name="connsiteX3" fmla="*/ 278709 w 278709"/>
                  <a:gd name="connsiteY3" fmla="*/ 164064 h 475805"/>
                  <a:gd name="connsiteX4" fmla="*/ 276526 w 278709"/>
                  <a:gd name="connsiteY4" fmla="*/ 166199 h 475805"/>
                  <a:gd name="connsiteX5" fmla="*/ 141975 w 278709"/>
                  <a:gd name="connsiteY5" fmla="*/ 426258 h 475805"/>
                  <a:gd name="connsiteX6" fmla="*/ 119808 w 278709"/>
                  <a:gd name="connsiteY6" fmla="*/ 475805 h 475805"/>
                  <a:gd name="connsiteX7" fmla="*/ 102097 w 278709"/>
                  <a:gd name="connsiteY7" fmla="*/ 454225 h 475805"/>
                  <a:gd name="connsiteX8" fmla="*/ 11610 w 278709"/>
                  <a:gd name="connsiteY8" fmla="*/ 220863 h 475805"/>
                  <a:gd name="connsiteX9" fmla="*/ 11610 w 278709"/>
                  <a:gd name="connsiteY9" fmla="*/ 54175 h 475805"/>
                  <a:gd name="connsiteX10" fmla="*/ 106860 w 278709"/>
                  <a:gd name="connsiteY10" fmla="*/ 1788 h 475805"/>
                  <a:gd name="connsiteX11" fmla="*/ 142541 w 278709"/>
                  <a:gd name="connsiteY11" fmla="*/ 2 h 4758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78709" h="475805">
                    <a:moveTo>
                      <a:pt x="142541" y="2"/>
                    </a:moveTo>
                    <a:cubicBezTo>
                      <a:pt x="182316" y="-147"/>
                      <a:pt x="230685" y="5956"/>
                      <a:pt x="254497" y="30363"/>
                    </a:cubicBezTo>
                    <a:cubicBezTo>
                      <a:pt x="278310" y="54770"/>
                      <a:pt x="259706" y="96145"/>
                      <a:pt x="272022" y="145444"/>
                    </a:cubicBezTo>
                    <a:lnTo>
                      <a:pt x="278709" y="164064"/>
                    </a:lnTo>
                    <a:lnTo>
                      <a:pt x="276526" y="166199"/>
                    </a:lnTo>
                    <a:cubicBezTo>
                      <a:pt x="220470" y="231070"/>
                      <a:pt x="186589" y="330561"/>
                      <a:pt x="141975" y="426258"/>
                    </a:cubicBezTo>
                    <a:lnTo>
                      <a:pt x="119808" y="475805"/>
                    </a:lnTo>
                    <a:lnTo>
                      <a:pt x="102097" y="454225"/>
                    </a:lnTo>
                    <a:cubicBezTo>
                      <a:pt x="53678" y="391519"/>
                      <a:pt x="26691" y="287538"/>
                      <a:pt x="11610" y="220863"/>
                    </a:cubicBezTo>
                    <a:cubicBezTo>
                      <a:pt x="-3471" y="154188"/>
                      <a:pt x="-4265" y="90687"/>
                      <a:pt x="11610" y="54175"/>
                    </a:cubicBezTo>
                    <a:cubicBezTo>
                      <a:pt x="27485" y="17662"/>
                      <a:pt x="66379" y="5757"/>
                      <a:pt x="106860" y="1788"/>
                    </a:cubicBezTo>
                    <a:cubicBezTo>
                      <a:pt x="116980" y="796"/>
                      <a:pt x="129284" y="52"/>
                      <a:pt x="142541" y="2"/>
                    </a:cubicBez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7" name="Freeform: Shape 226">
                <a:extLst>
                  <a:ext uri="{FF2B5EF4-FFF2-40B4-BE49-F238E27FC236}">
                    <a16:creationId xmlns:a16="http://schemas.microsoft.com/office/drawing/2014/main" id="{2DA9A619-42A4-4CEC-9C19-37126CE56BB6}"/>
                  </a:ext>
                </a:extLst>
              </p:cNvPr>
              <p:cNvSpPr/>
              <p:nvPr/>
            </p:nvSpPr>
            <p:spPr>
              <a:xfrm>
                <a:off x="2788465" y="3802381"/>
                <a:ext cx="175505" cy="97085"/>
              </a:xfrm>
              <a:custGeom>
                <a:avLst/>
                <a:gdLst>
                  <a:gd name="connsiteX0" fmla="*/ 15695 w 175505"/>
                  <a:gd name="connsiteY0" fmla="*/ 0 h 97085"/>
                  <a:gd name="connsiteX1" fmla="*/ 137615 w 175505"/>
                  <a:gd name="connsiteY1" fmla="*/ 15716 h 97085"/>
                  <a:gd name="connsiteX2" fmla="*/ 151571 w 175505"/>
                  <a:gd name="connsiteY2" fmla="*/ 18087 h 97085"/>
                  <a:gd name="connsiteX3" fmla="*/ 175505 w 175505"/>
                  <a:gd name="connsiteY3" fmla="*/ 97085 h 97085"/>
                  <a:gd name="connsiteX4" fmla="*/ 5047 w 175505"/>
                  <a:gd name="connsiteY4" fmla="*/ 14175 h 97085"/>
                  <a:gd name="connsiteX5" fmla="*/ 0 w 175505"/>
                  <a:gd name="connsiteY5" fmla="*/ 1162 h 97085"/>
                  <a:gd name="connsiteX6" fmla="*/ 15695 w 175505"/>
                  <a:gd name="connsiteY6" fmla="*/ 0 h 970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5505" h="97085">
                    <a:moveTo>
                      <a:pt x="15695" y="0"/>
                    </a:moveTo>
                    <a:cubicBezTo>
                      <a:pt x="41095" y="635"/>
                      <a:pt x="92530" y="8255"/>
                      <a:pt x="137615" y="15716"/>
                    </a:cubicBezTo>
                    <a:lnTo>
                      <a:pt x="151571" y="18087"/>
                    </a:lnTo>
                    <a:lnTo>
                      <a:pt x="175505" y="97085"/>
                    </a:lnTo>
                    <a:cubicBezTo>
                      <a:pt x="78983" y="97085"/>
                      <a:pt x="31563" y="65748"/>
                      <a:pt x="5047" y="14175"/>
                    </a:cubicBezTo>
                    <a:lnTo>
                      <a:pt x="0" y="1162"/>
                    </a:lnTo>
                    <a:lnTo>
                      <a:pt x="15695" y="0"/>
                    </a:ln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8" name="Freeform: Shape 227">
                <a:extLst>
                  <a:ext uri="{FF2B5EF4-FFF2-40B4-BE49-F238E27FC236}">
                    <a16:creationId xmlns:a16="http://schemas.microsoft.com/office/drawing/2014/main" id="{A32074FB-6BA2-4BA4-B57A-6CAF87D09088}"/>
                  </a:ext>
                </a:extLst>
              </p:cNvPr>
              <p:cNvSpPr/>
              <p:nvPr/>
            </p:nvSpPr>
            <p:spPr>
              <a:xfrm>
                <a:off x="4114631" y="3807620"/>
                <a:ext cx="158005" cy="100357"/>
              </a:xfrm>
              <a:custGeom>
                <a:avLst/>
                <a:gdLst>
                  <a:gd name="connsiteX0" fmla="*/ 76369 w 158005"/>
                  <a:gd name="connsiteY0" fmla="*/ 0 h 100357"/>
                  <a:gd name="connsiteX1" fmla="*/ 125188 w 158005"/>
                  <a:gd name="connsiteY1" fmla="*/ 1632 h 100357"/>
                  <a:gd name="connsiteX2" fmla="*/ 143379 w 158005"/>
                  <a:gd name="connsiteY2" fmla="*/ 40748 h 100357"/>
                  <a:gd name="connsiteX3" fmla="*/ 158005 w 158005"/>
                  <a:gd name="connsiteY3" fmla="*/ 100278 h 100357"/>
                  <a:gd name="connsiteX4" fmla="*/ 5202 w 158005"/>
                  <a:gd name="connsiteY4" fmla="*/ 32550 h 100357"/>
                  <a:gd name="connsiteX5" fmla="*/ 0 w 158005"/>
                  <a:gd name="connsiteY5" fmla="*/ 3845 h 100357"/>
                  <a:gd name="connsiteX6" fmla="*/ 76369 w 158005"/>
                  <a:gd name="connsiteY6" fmla="*/ 0 h 1003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8005" h="100357">
                    <a:moveTo>
                      <a:pt x="76369" y="0"/>
                    </a:moveTo>
                    <a:lnTo>
                      <a:pt x="125188" y="1632"/>
                    </a:lnTo>
                    <a:lnTo>
                      <a:pt x="143379" y="40748"/>
                    </a:lnTo>
                    <a:cubicBezTo>
                      <a:pt x="149903" y="58402"/>
                      <a:pt x="155059" y="77794"/>
                      <a:pt x="158005" y="100278"/>
                    </a:cubicBezTo>
                    <a:cubicBezTo>
                      <a:pt x="38685" y="100278"/>
                      <a:pt x="20332" y="105442"/>
                      <a:pt x="5202" y="32550"/>
                    </a:cubicBezTo>
                    <a:lnTo>
                      <a:pt x="0" y="3845"/>
                    </a:lnTo>
                    <a:lnTo>
                      <a:pt x="76369" y="0"/>
                    </a:ln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9" name="Freeform: Shape 228">
                <a:extLst>
                  <a:ext uri="{FF2B5EF4-FFF2-40B4-BE49-F238E27FC236}">
                    <a16:creationId xmlns:a16="http://schemas.microsoft.com/office/drawing/2014/main" id="{D80A3BA8-F012-4C64-A0A2-948A608025BB}"/>
                  </a:ext>
                </a:extLst>
              </p:cNvPr>
              <p:cNvSpPr/>
              <p:nvPr/>
            </p:nvSpPr>
            <p:spPr>
              <a:xfrm>
                <a:off x="3887583" y="3821184"/>
                <a:ext cx="169561" cy="95207"/>
              </a:xfrm>
              <a:custGeom>
                <a:avLst/>
                <a:gdLst>
                  <a:gd name="connsiteX0" fmla="*/ 131215 w 169561"/>
                  <a:gd name="connsiteY0" fmla="*/ 0 h 95207"/>
                  <a:gd name="connsiteX1" fmla="*/ 148867 w 169561"/>
                  <a:gd name="connsiteY1" fmla="*/ 35843 h 95207"/>
                  <a:gd name="connsiteX2" fmla="*/ 169561 w 169561"/>
                  <a:gd name="connsiteY2" fmla="*/ 86714 h 95207"/>
                  <a:gd name="connsiteX3" fmla="*/ 2330 w 169561"/>
                  <a:gd name="connsiteY3" fmla="*/ 86714 h 95207"/>
                  <a:gd name="connsiteX4" fmla="*/ 4303 w 169561"/>
                  <a:gd name="connsiteY4" fmla="*/ 47665 h 95207"/>
                  <a:gd name="connsiteX5" fmla="*/ 3267 w 169561"/>
                  <a:gd name="connsiteY5" fmla="*/ 42784 h 95207"/>
                  <a:gd name="connsiteX6" fmla="*/ 6237 w 169561"/>
                  <a:gd name="connsiteY6" fmla="*/ 42157 h 95207"/>
                  <a:gd name="connsiteX7" fmla="*/ 105357 w 169561"/>
                  <a:gd name="connsiteY7" fmla="*/ 4652 h 95207"/>
                  <a:gd name="connsiteX8" fmla="*/ 131215 w 169561"/>
                  <a:gd name="connsiteY8" fmla="*/ 0 h 95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9561" h="95207">
                    <a:moveTo>
                      <a:pt x="131215" y="0"/>
                    </a:moveTo>
                    <a:lnTo>
                      <a:pt x="148867" y="35843"/>
                    </a:lnTo>
                    <a:cubicBezTo>
                      <a:pt x="155917" y="50634"/>
                      <a:pt x="162967" y="66900"/>
                      <a:pt x="169561" y="86714"/>
                    </a:cubicBezTo>
                    <a:cubicBezTo>
                      <a:pt x="135890" y="86714"/>
                      <a:pt x="27022" y="105825"/>
                      <a:pt x="2330" y="86714"/>
                    </a:cubicBezTo>
                    <a:cubicBezTo>
                      <a:pt x="-3563" y="82076"/>
                      <a:pt x="3487" y="60681"/>
                      <a:pt x="4303" y="47665"/>
                    </a:cubicBezTo>
                    <a:lnTo>
                      <a:pt x="3267" y="42784"/>
                    </a:lnTo>
                    <a:lnTo>
                      <a:pt x="6237" y="42157"/>
                    </a:lnTo>
                    <a:cubicBezTo>
                      <a:pt x="46242" y="33585"/>
                      <a:pt x="66959" y="15725"/>
                      <a:pt x="105357" y="4652"/>
                    </a:cubicBezTo>
                    <a:lnTo>
                      <a:pt x="131215" y="0"/>
                    </a:ln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0" name="Freeform: Shape 229">
                <a:extLst>
                  <a:ext uri="{FF2B5EF4-FFF2-40B4-BE49-F238E27FC236}">
                    <a16:creationId xmlns:a16="http://schemas.microsoft.com/office/drawing/2014/main" id="{894C0B12-1BA3-4715-BA00-8302BBB43935}"/>
                  </a:ext>
                </a:extLst>
              </p:cNvPr>
              <p:cNvSpPr/>
              <p:nvPr/>
            </p:nvSpPr>
            <p:spPr>
              <a:xfrm>
                <a:off x="2470780" y="3825717"/>
                <a:ext cx="159017" cy="103943"/>
              </a:xfrm>
              <a:custGeom>
                <a:avLst/>
                <a:gdLst>
                  <a:gd name="connsiteX0" fmla="*/ 10483 w 159017"/>
                  <a:gd name="connsiteY0" fmla="*/ 0 h 103943"/>
                  <a:gd name="connsiteX1" fmla="*/ 97160 w 159017"/>
                  <a:gd name="connsiteY1" fmla="*/ 7144 h 103943"/>
                  <a:gd name="connsiteX2" fmla="*/ 124570 w 159017"/>
                  <a:gd name="connsiteY2" fmla="*/ 6090 h 103943"/>
                  <a:gd name="connsiteX3" fmla="*/ 126180 w 159017"/>
                  <a:gd name="connsiteY3" fmla="*/ 10232 h 103943"/>
                  <a:gd name="connsiteX4" fmla="*/ 158167 w 159017"/>
                  <a:gd name="connsiteY4" fmla="*/ 73749 h 103943"/>
                  <a:gd name="connsiteX5" fmla="*/ 6649 w 159017"/>
                  <a:gd name="connsiteY5" fmla="*/ 82181 h 103943"/>
                  <a:gd name="connsiteX6" fmla="*/ 6649 w 159017"/>
                  <a:gd name="connsiteY6" fmla="*/ 1800 h 103943"/>
                  <a:gd name="connsiteX7" fmla="*/ 5073 w 159017"/>
                  <a:gd name="connsiteY7" fmla="*/ 105 h 103943"/>
                  <a:gd name="connsiteX8" fmla="*/ 10483 w 159017"/>
                  <a:gd name="connsiteY8" fmla="*/ 0 h 103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9017" h="103943">
                    <a:moveTo>
                      <a:pt x="10483" y="0"/>
                    </a:moveTo>
                    <a:cubicBezTo>
                      <a:pt x="55250" y="1747"/>
                      <a:pt x="97160" y="7144"/>
                      <a:pt x="97160" y="7144"/>
                    </a:cubicBezTo>
                    <a:lnTo>
                      <a:pt x="124570" y="6090"/>
                    </a:lnTo>
                    <a:lnTo>
                      <a:pt x="126180" y="10232"/>
                    </a:lnTo>
                    <a:cubicBezTo>
                      <a:pt x="129547" y="18663"/>
                      <a:pt x="164901" y="60821"/>
                      <a:pt x="158167" y="73749"/>
                    </a:cubicBezTo>
                    <a:cubicBezTo>
                      <a:pt x="137403" y="113658"/>
                      <a:pt x="35830" y="111410"/>
                      <a:pt x="6649" y="82181"/>
                    </a:cubicBezTo>
                    <a:cubicBezTo>
                      <a:pt x="-9625" y="65880"/>
                      <a:pt x="9455" y="7983"/>
                      <a:pt x="6649" y="1800"/>
                    </a:cubicBezTo>
                    <a:lnTo>
                      <a:pt x="5073" y="105"/>
                    </a:lnTo>
                    <a:lnTo>
                      <a:pt x="10483" y="0"/>
                    </a:ln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AEF035F2-AA5D-4639-9674-606F7B003938}"/>
              </a:ext>
            </a:extLst>
          </p:cNvPr>
          <p:cNvGrpSpPr/>
          <p:nvPr/>
        </p:nvGrpSpPr>
        <p:grpSpPr>
          <a:xfrm flipH="1">
            <a:off x="7564789" y="5756371"/>
            <a:ext cx="628435" cy="443509"/>
            <a:chOff x="2102523" y="2013100"/>
            <a:chExt cx="2983284" cy="2105412"/>
          </a:xfrm>
        </p:grpSpPr>
        <p:sp>
          <p:nvSpPr>
            <p:cNvPr id="234" name="Oval 233">
              <a:extLst>
                <a:ext uri="{FF2B5EF4-FFF2-40B4-BE49-F238E27FC236}">
                  <a16:creationId xmlns:a16="http://schemas.microsoft.com/office/drawing/2014/main" id="{54455ABB-A597-4A5C-8CCC-5D89860A785F}"/>
                </a:ext>
              </a:extLst>
            </p:cNvPr>
            <p:cNvSpPr/>
            <p:nvPr/>
          </p:nvSpPr>
          <p:spPr>
            <a:xfrm>
              <a:off x="2102523" y="3609421"/>
              <a:ext cx="2717042" cy="509091"/>
            </a:xfrm>
            <a:prstGeom prst="ellipse">
              <a:avLst/>
            </a:prstGeom>
            <a:solidFill>
              <a:schemeClr val="tx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35" name="Group 234">
              <a:extLst>
                <a:ext uri="{FF2B5EF4-FFF2-40B4-BE49-F238E27FC236}">
                  <a16:creationId xmlns:a16="http://schemas.microsoft.com/office/drawing/2014/main" id="{26072FE4-A5D2-4495-BB98-B1180BA0FF94}"/>
                </a:ext>
              </a:extLst>
            </p:cNvPr>
            <p:cNvGrpSpPr/>
            <p:nvPr/>
          </p:nvGrpSpPr>
          <p:grpSpPr>
            <a:xfrm>
              <a:off x="2190105" y="2013100"/>
              <a:ext cx="2895702" cy="1916560"/>
              <a:chOff x="2190105" y="2013100"/>
              <a:chExt cx="2895702" cy="1916560"/>
            </a:xfrm>
          </p:grpSpPr>
          <p:sp>
            <p:nvSpPr>
              <p:cNvPr id="236" name="Freeform: Shape 235">
                <a:extLst>
                  <a:ext uri="{FF2B5EF4-FFF2-40B4-BE49-F238E27FC236}">
                    <a16:creationId xmlns:a16="http://schemas.microsoft.com/office/drawing/2014/main" id="{7FB252D0-9652-4C7D-A379-B126FCCE300C}"/>
                  </a:ext>
                </a:extLst>
              </p:cNvPr>
              <p:cNvSpPr/>
              <p:nvPr/>
            </p:nvSpPr>
            <p:spPr>
              <a:xfrm>
                <a:off x="2190105" y="2013100"/>
                <a:ext cx="2895702" cy="1850867"/>
              </a:xfrm>
              <a:custGeom>
                <a:avLst/>
                <a:gdLst>
                  <a:gd name="connsiteX0" fmla="*/ 2480054 w 2895702"/>
                  <a:gd name="connsiteY0" fmla="*/ 97 h 1850867"/>
                  <a:gd name="connsiteX1" fmla="*/ 2569632 w 2895702"/>
                  <a:gd name="connsiteY1" fmla="*/ 16258 h 1850867"/>
                  <a:gd name="connsiteX2" fmla="*/ 2729006 w 2895702"/>
                  <a:gd name="connsiteY2" fmla="*/ 64036 h 1850867"/>
                  <a:gd name="connsiteX3" fmla="*/ 2481527 w 2895702"/>
                  <a:gd name="connsiteY3" fmla="*/ 112377 h 1850867"/>
                  <a:gd name="connsiteX4" fmla="*/ 2736863 w 2895702"/>
                  <a:gd name="connsiteY4" fmla="*/ 296184 h 1850867"/>
                  <a:gd name="connsiteX5" fmla="*/ 2832824 w 2895702"/>
                  <a:gd name="connsiteY5" fmla="*/ 535638 h 1850867"/>
                  <a:gd name="connsiteX6" fmla="*/ 2449540 w 2895702"/>
                  <a:gd name="connsiteY6" fmla="*/ 599718 h 1850867"/>
                  <a:gd name="connsiteX7" fmla="*/ 2414902 w 2895702"/>
                  <a:gd name="connsiteY7" fmla="*/ 622253 h 1850867"/>
                  <a:gd name="connsiteX8" fmla="*/ 2387056 w 2895702"/>
                  <a:gd name="connsiteY8" fmla="*/ 649489 h 1850867"/>
                  <a:gd name="connsiteX9" fmla="*/ 2380369 w 2895702"/>
                  <a:gd name="connsiteY9" fmla="*/ 630869 h 1850867"/>
                  <a:gd name="connsiteX10" fmla="*/ 2362844 w 2895702"/>
                  <a:gd name="connsiteY10" fmla="*/ 515788 h 1850867"/>
                  <a:gd name="connsiteX11" fmla="*/ 2215207 w 2895702"/>
                  <a:gd name="connsiteY11" fmla="*/ 487213 h 1850867"/>
                  <a:gd name="connsiteX12" fmla="*/ 2119957 w 2895702"/>
                  <a:gd name="connsiteY12" fmla="*/ 539600 h 1850867"/>
                  <a:gd name="connsiteX13" fmla="*/ 2119957 w 2895702"/>
                  <a:gd name="connsiteY13" fmla="*/ 706288 h 1850867"/>
                  <a:gd name="connsiteX14" fmla="*/ 2210444 w 2895702"/>
                  <a:gd name="connsiteY14" fmla="*/ 939650 h 1850867"/>
                  <a:gd name="connsiteX15" fmla="*/ 2228155 w 2895702"/>
                  <a:gd name="connsiteY15" fmla="*/ 961230 h 1850867"/>
                  <a:gd name="connsiteX16" fmla="*/ 2222965 w 2895702"/>
                  <a:gd name="connsiteY16" fmla="*/ 972829 h 1850867"/>
                  <a:gd name="connsiteX17" fmla="*/ 2193082 w 2895702"/>
                  <a:gd name="connsiteY17" fmla="*/ 1041669 h 1850867"/>
                  <a:gd name="connsiteX18" fmla="*/ 2172855 w 2895702"/>
                  <a:gd name="connsiteY18" fmla="*/ 1085691 h 1850867"/>
                  <a:gd name="connsiteX19" fmla="*/ 2166282 w 2895702"/>
                  <a:gd name="connsiteY19" fmla="*/ 1084690 h 1850867"/>
                  <a:gd name="connsiteX20" fmla="*/ 1966257 w 2895702"/>
                  <a:gd name="connsiteY20" fmla="*/ 1083391 h 1850867"/>
                  <a:gd name="connsiteX21" fmla="*/ 1748048 w 2895702"/>
                  <a:gd name="connsiteY21" fmla="*/ 1197691 h 1850867"/>
                  <a:gd name="connsiteX22" fmla="*/ 1800002 w 2895702"/>
                  <a:gd name="connsiteY22" fmla="*/ 1395118 h 1850867"/>
                  <a:gd name="connsiteX23" fmla="*/ 1922745 w 2895702"/>
                  <a:gd name="connsiteY23" fmla="*/ 1485389 h 1850867"/>
                  <a:gd name="connsiteX24" fmla="*/ 1953145 w 2895702"/>
                  <a:gd name="connsiteY24" fmla="*/ 1499410 h 1850867"/>
                  <a:gd name="connsiteX25" fmla="*/ 1969988 w 2895702"/>
                  <a:gd name="connsiteY25" fmla="*/ 1599000 h 1850867"/>
                  <a:gd name="connsiteX26" fmla="*/ 1994986 w 2895702"/>
                  <a:gd name="connsiteY26" fmla="*/ 1686820 h 1850867"/>
                  <a:gd name="connsiteX27" fmla="*/ 2045071 w 2895702"/>
                  <a:gd name="connsiteY27" fmla="*/ 1786171 h 1850867"/>
                  <a:gd name="connsiteX28" fmla="*/ 2049713 w 2895702"/>
                  <a:gd name="connsiteY28" fmla="*/ 1796151 h 1850867"/>
                  <a:gd name="connsiteX29" fmla="*/ 2000894 w 2895702"/>
                  <a:gd name="connsiteY29" fmla="*/ 1794519 h 1850867"/>
                  <a:gd name="connsiteX30" fmla="*/ 1924525 w 2895702"/>
                  <a:gd name="connsiteY30" fmla="*/ 1798364 h 1850867"/>
                  <a:gd name="connsiteX31" fmla="*/ 1923155 w 2895702"/>
                  <a:gd name="connsiteY31" fmla="*/ 1790808 h 1850867"/>
                  <a:gd name="connsiteX32" fmla="*/ 1867038 w 2895702"/>
                  <a:gd name="connsiteY32" fmla="*/ 1614871 h 1850867"/>
                  <a:gd name="connsiteX33" fmla="*/ 1795207 w 2895702"/>
                  <a:gd name="connsiteY33" fmla="*/ 1423195 h 1850867"/>
                  <a:gd name="connsiteX34" fmla="*/ 1795207 w 2895702"/>
                  <a:gd name="connsiteY34" fmla="*/ 1694689 h 1850867"/>
                  <a:gd name="connsiteX35" fmla="*/ 1825651 w 2895702"/>
                  <a:gd name="connsiteY35" fmla="*/ 1801909 h 1850867"/>
                  <a:gd name="connsiteX36" fmla="*/ 1828692 w 2895702"/>
                  <a:gd name="connsiteY36" fmla="*/ 1808083 h 1850867"/>
                  <a:gd name="connsiteX37" fmla="*/ 1802834 w 2895702"/>
                  <a:gd name="connsiteY37" fmla="*/ 1812735 h 1850867"/>
                  <a:gd name="connsiteX38" fmla="*/ 1703714 w 2895702"/>
                  <a:gd name="connsiteY38" fmla="*/ 1850240 h 1850867"/>
                  <a:gd name="connsiteX39" fmla="*/ 1700744 w 2895702"/>
                  <a:gd name="connsiteY39" fmla="*/ 1850867 h 1850867"/>
                  <a:gd name="connsiteX40" fmla="*/ 1699807 w 2895702"/>
                  <a:gd name="connsiteY40" fmla="*/ 1846456 h 1850867"/>
                  <a:gd name="connsiteX41" fmla="*/ 1659963 w 2895702"/>
                  <a:gd name="connsiteY41" fmla="*/ 1798677 h 1850867"/>
                  <a:gd name="connsiteX42" fmla="*/ 1643689 w 2895702"/>
                  <a:gd name="connsiteY42" fmla="*/ 1542922 h 1850867"/>
                  <a:gd name="connsiteX43" fmla="*/ 1516302 w 2895702"/>
                  <a:gd name="connsiteY43" fmla="*/ 1255127 h 1850867"/>
                  <a:gd name="connsiteX44" fmla="*/ 1053330 w 2895702"/>
                  <a:gd name="connsiteY44" fmla="*/ 1262996 h 1850867"/>
                  <a:gd name="connsiteX45" fmla="*/ 901812 w 2895702"/>
                  <a:gd name="connsiteY45" fmla="*/ 1302905 h 1850867"/>
                  <a:gd name="connsiteX46" fmla="*/ 845695 w 2895702"/>
                  <a:gd name="connsiteY46" fmla="*/ 1359115 h 1850867"/>
                  <a:gd name="connsiteX47" fmla="*/ 790138 w 2895702"/>
                  <a:gd name="connsiteY47" fmla="*/ 1366984 h 1850867"/>
                  <a:gd name="connsiteX48" fmla="*/ 726164 w 2895702"/>
                  <a:gd name="connsiteY48" fmla="*/ 1383285 h 1850867"/>
                  <a:gd name="connsiteX49" fmla="*/ 662190 w 2895702"/>
                  <a:gd name="connsiteY49" fmla="*/ 1351246 h 1850867"/>
                  <a:gd name="connsiteX50" fmla="*/ 638059 w 2895702"/>
                  <a:gd name="connsiteY50" fmla="*/ 1527183 h 1850867"/>
                  <a:gd name="connsiteX51" fmla="*/ 747042 w 2895702"/>
                  <a:gd name="connsiteY51" fmla="*/ 1797834 h 1850867"/>
                  <a:gd name="connsiteX52" fmla="*/ 749930 w 2895702"/>
                  <a:gd name="connsiteY52" fmla="*/ 1807367 h 1850867"/>
                  <a:gd name="connsiteX53" fmla="*/ 735974 w 2895702"/>
                  <a:gd name="connsiteY53" fmla="*/ 1804996 h 1850867"/>
                  <a:gd name="connsiteX54" fmla="*/ 614054 w 2895702"/>
                  <a:gd name="connsiteY54" fmla="*/ 1789280 h 1850867"/>
                  <a:gd name="connsiteX55" fmla="*/ 598359 w 2895702"/>
                  <a:gd name="connsiteY55" fmla="*/ 1790442 h 1850867"/>
                  <a:gd name="connsiteX56" fmla="*/ 586999 w 2895702"/>
                  <a:gd name="connsiteY56" fmla="*/ 1761155 h 1850867"/>
                  <a:gd name="connsiteX57" fmla="*/ 558372 w 2895702"/>
                  <a:gd name="connsiteY57" fmla="*/ 1599132 h 1850867"/>
                  <a:gd name="connsiteX58" fmla="*/ 423128 w 2895702"/>
                  <a:gd name="connsiteY58" fmla="*/ 1295036 h 1850867"/>
                  <a:gd name="connsiteX59" fmla="*/ 359154 w 2895702"/>
                  <a:gd name="connsiteY59" fmla="*/ 1671081 h 1850867"/>
                  <a:gd name="connsiteX60" fmla="*/ 378585 w 2895702"/>
                  <a:gd name="connsiteY60" fmla="*/ 1750126 h 1850867"/>
                  <a:gd name="connsiteX61" fmla="*/ 405244 w 2895702"/>
                  <a:gd name="connsiteY61" fmla="*/ 1818706 h 1850867"/>
                  <a:gd name="connsiteX62" fmla="*/ 377834 w 2895702"/>
                  <a:gd name="connsiteY62" fmla="*/ 1819760 h 1850867"/>
                  <a:gd name="connsiteX63" fmla="*/ 291157 w 2895702"/>
                  <a:gd name="connsiteY63" fmla="*/ 1812616 h 1850867"/>
                  <a:gd name="connsiteX64" fmla="*/ 285747 w 2895702"/>
                  <a:gd name="connsiteY64" fmla="*/ 1812721 h 1850867"/>
                  <a:gd name="connsiteX65" fmla="*/ 274057 w 2895702"/>
                  <a:gd name="connsiteY65" fmla="*/ 1800153 h 1850867"/>
                  <a:gd name="connsiteX66" fmla="*/ 231205 w 2895702"/>
                  <a:gd name="connsiteY66" fmla="*/ 1766638 h 1850867"/>
                  <a:gd name="connsiteX67" fmla="*/ 239062 w 2895702"/>
                  <a:gd name="connsiteY67" fmla="*/ 1590700 h 1850867"/>
                  <a:gd name="connsiteX68" fmla="*/ 191362 w 2895702"/>
                  <a:gd name="connsiteY68" fmla="*/ 1415325 h 1850867"/>
                  <a:gd name="connsiteX69" fmla="*/ 239062 w 2895702"/>
                  <a:gd name="connsiteY69" fmla="*/ 1247257 h 1850867"/>
                  <a:gd name="connsiteX70" fmla="*/ 263192 w 2895702"/>
                  <a:gd name="connsiteY70" fmla="*/ 455820 h 1850867"/>
                  <a:gd name="connsiteX71" fmla="*/ 167231 w 2895702"/>
                  <a:gd name="connsiteY71" fmla="*/ 863343 h 1850867"/>
                  <a:gd name="connsiteX72" fmla="*/ 135805 w 2895702"/>
                  <a:gd name="connsiteY72" fmla="*/ 1087621 h 1850867"/>
                  <a:gd name="connsiteX73" fmla="*/ 63974 w 2895702"/>
                  <a:gd name="connsiteY73" fmla="*/ 1238826 h 1850867"/>
                  <a:gd name="connsiteX74" fmla="*/ 63974 w 2895702"/>
                  <a:gd name="connsiteY74" fmla="*/ 1239388 h 1850867"/>
                  <a:gd name="connsiteX75" fmla="*/ 0 w 2895702"/>
                  <a:gd name="connsiteY75" fmla="*/ 1311337 h 1850867"/>
                  <a:gd name="connsiteX76" fmla="*/ 31987 w 2895702"/>
                  <a:gd name="connsiteY76" fmla="*/ 1111229 h 1850867"/>
                  <a:gd name="connsiteX77" fmla="*/ 103818 w 2895702"/>
                  <a:gd name="connsiteY77" fmla="*/ 951592 h 1850867"/>
                  <a:gd name="connsiteX78" fmla="*/ 159375 w 2895702"/>
                  <a:gd name="connsiteY78" fmla="*/ 591848 h 1850867"/>
                  <a:gd name="connsiteX79" fmla="*/ 319310 w 2895702"/>
                  <a:gd name="connsiteY79" fmla="*/ 296184 h 1850867"/>
                  <a:gd name="connsiteX80" fmla="*/ 622030 w 2895702"/>
                  <a:gd name="connsiteY80" fmla="*/ 269308 h 1850867"/>
                  <a:gd name="connsiteX81" fmla="*/ 724248 w 2895702"/>
                  <a:gd name="connsiteY81" fmla="*/ 279689 h 1850867"/>
                  <a:gd name="connsiteX82" fmla="*/ 753767 w 2895702"/>
                  <a:gd name="connsiteY82" fmla="*/ 319009 h 1850867"/>
                  <a:gd name="connsiteX83" fmla="*/ 1010292 w 2895702"/>
                  <a:gd name="connsiteY83" fmla="*/ 501499 h 1850867"/>
                  <a:gd name="connsiteX84" fmla="*/ 1758437 w 2895702"/>
                  <a:gd name="connsiteY84" fmla="*/ 532672 h 1850867"/>
                  <a:gd name="connsiteX85" fmla="*/ 1957813 w 2895702"/>
                  <a:gd name="connsiteY85" fmla="*/ 280043 h 1850867"/>
                  <a:gd name="connsiteX86" fmla="*/ 1973660 w 2895702"/>
                  <a:gd name="connsiteY86" fmla="*/ 234754 h 1850867"/>
                  <a:gd name="connsiteX87" fmla="*/ 2058960 w 2895702"/>
                  <a:gd name="connsiteY87" fmla="*/ 239974 h 1850867"/>
                  <a:gd name="connsiteX88" fmla="*/ 2250322 w 2895702"/>
                  <a:gd name="connsiteY88" fmla="*/ 192195 h 1850867"/>
                  <a:gd name="connsiteX89" fmla="*/ 2282309 w 2895702"/>
                  <a:gd name="connsiteY89" fmla="*/ 72468 h 1850867"/>
                  <a:gd name="connsiteX90" fmla="*/ 2354140 w 2895702"/>
                  <a:gd name="connsiteY90" fmla="*/ 112377 h 1850867"/>
                  <a:gd name="connsiteX91" fmla="*/ 2401840 w 2895702"/>
                  <a:gd name="connsiteY91" fmla="*/ 40428 h 1850867"/>
                  <a:gd name="connsiteX92" fmla="*/ 2480054 w 2895702"/>
                  <a:gd name="connsiteY92" fmla="*/ 97 h 1850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</a:cxnLst>
                <a:rect l="l" t="t" r="r" b="b"/>
                <a:pathLst>
                  <a:path w="2895702" h="1850867">
                    <a:moveTo>
                      <a:pt x="2480054" y="97"/>
                    </a:moveTo>
                    <a:cubicBezTo>
                      <a:pt x="2504816" y="1222"/>
                      <a:pt x="2531472" y="11761"/>
                      <a:pt x="2569632" y="16258"/>
                    </a:cubicBezTo>
                    <a:cubicBezTo>
                      <a:pt x="2635851" y="24127"/>
                      <a:pt x="2813183" y="-11285"/>
                      <a:pt x="2729006" y="64036"/>
                    </a:cubicBezTo>
                    <a:cubicBezTo>
                      <a:pt x="2684112" y="104507"/>
                      <a:pt x="2539328" y="107880"/>
                      <a:pt x="2481527" y="112377"/>
                    </a:cubicBezTo>
                    <a:cubicBezTo>
                      <a:pt x="2584784" y="153410"/>
                      <a:pt x="2669522" y="228732"/>
                      <a:pt x="2736863" y="296184"/>
                    </a:cubicBezTo>
                    <a:cubicBezTo>
                      <a:pt x="2817672" y="377126"/>
                      <a:pt x="2987709" y="460317"/>
                      <a:pt x="2832824" y="535638"/>
                    </a:cubicBezTo>
                    <a:cubicBezTo>
                      <a:pt x="2727323" y="587351"/>
                      <a:pt x="2554480" y="547442"/>
                      <a:pt x="2449540" y="599718"/>
                    </a:cubicBezTo>
                    <a:cubicBezTo>
                      <a:pt x="2437124" y="605972"/>
                      <a:pt x="2425629" y="613542"/>
                      <a:pt x="2414902" y="622253"/>
                    </a:cubicBezTo>
                    <a:lnTo>
                      <a:pt x="2387056" y="649489"/>
                    </a:lnTo>
                    <a:lnTo>
                      <a:pt x="2380369" y="630869"/>
                    </a:lnTo>
                    <a:cubicBezTo>
                      <a:pt x="2368053" y="581570"/>
                      <a:pt x="2386657" y="540195"/>
                      <a:pt x="2362844" y="515788"/>
                    </a:cubicBezTo>
                    <a:cubicBezTo>
                      <a:pt x="2331094" y="483245"/>
                      <a:pt x="2255688" y="483244"/>
                      <a:pt x="2215207" y="487213"/>
                    </a:cubicBezTo>
                    <a:cubicBezTo>
                      <a:pt x="2174726" y="491182"/>
                      <a:pt x="2135832" y="503087"/>
                      <a:pt x="2119957" y="539600"/>
                    </a:cubicBezTo>
                    <a:cubicBezTo>
                      <a:pt x="2104082" y="576112"/>
                      <a:pt x="2104876" y="639613"/>
                      <a:pt x="2119957" y="706288"/>
                    </a:cubicBezTo>
                    <a:cubicBezTo>
                      <a:pt x="2135038" y="772963"/>
                      <a:pt x="2162025" y="876944"/>
                      <a:pt x="2210444" y="939650"/>
                    </a:cubicBezTo>
                    <a:lnTo>
                      <a:pt x="2228155" y="961230"/>
                    </a:lnTo>
                    <a:lnTo>
                      <a:pt x="2222965" y="972829"/>
                    </a:lnTo>
                    <a:cubicBezTo>
                      <a:pt x="2213355" y="994979"/>
                      <a:pt x="2203324" y="1018412"/>
                      <a:pt x="2193082" y="1041669"/>
                    </a:cubicBezTo>
                    <a:lnTo>
                      <a:pt x="2172855" y="1085691"/>
                    </a:lnTo>
                    <a:lnTo>
                      <a:pt x="2166282" y="1084690"/>
                    </a:lnTo>
                    <a:cubicBezTo>
                      <a:pt x="2094412" y="1076896"/>
                      <a:pt x="2013016" y="1079061"/>
                      <a:pt x="1966257" y="1083391"/>
                    </a:cubicBezTo>
                    <a:cubicBezTo>
                      <a:pt x="1872739" y="1092050"/>
                      <a:pt x="1775757" y="1145737"/>
                      <a:pt x="1748048" y="1197691"/>
                    </a:cubicBezTo>
                    <a:cubicBezTo>
                      <a:pt x="1720339" y="1249645"/>
                      <a:pt x="1746316" y="1343163"/>
                      <a:pt x="1800002" y="1395118"/>
                    </a:cubicBezTo>
                    <a:cubicBezTo>
                      <a:pt x="1826845" y="1421096"/>
                      <a:pt x="1872738" y="1458763"/>
                      <a:pt x="1922745" y="1485389"/>
                    </a:cubicBezTo>
                    <a:lnTo>
                      <a:pt x="1953145" y="1499410"/>
                    </a:lnTo>
                    <a:lnTo>
                      <a:pt x="1969988" y="1599000"/>
                    </a:lnTo>
                    <a:cubicBezTo>
                      <a:pt x="1977941" y="1634123"/>
                      <a:pt x="1986849" y="1664898"/>
                      <a:pt x="1994986" y="1686820"/>
                    </a:cubicBezTo>
                    <a:cubicBezTo>
                      <a:pt x="2009296" y="1725604"/>
                      <a:pt x="2028236" y="1755115"/>
                      <a:pt x="2045071" y="1786171"/>
                    </a:cubicBezTo>
                    <a:lnTo>
                      <a:pt x="2049713" y="1796151"/>
                    </a:lnTo>
                    <a:lnTo>
                      <a:pt x="2000894" y="1794519"/>
                    </a:lnTo>
                    <a:lnTo>
                      <a:pt x="1924525" y="1798364"/>
                    </a:lnTo>
                    <a:lnTo>
                      <a:pt x="1923155" y="1790808"/>
                    </a:lnTo>
                    <a:cubicBezTo>
                      <a:pt x="1868721" y="1834090"/>
                      <a:pt x="1877139" y="1664898"/>
                      <a:pt x="1867038" y="1614871"/>
                    </a:cubicBezTo>
                    <a:cubicBezTo>
                      <a:pt x="1858059" y="1569341"/>
                      <a:pt x="1829439" y="1391155"/>
                      <a:pt x="1795207" y="1423195"/>
                    </a:cubicBezTo>
                    <a:cubicBezTo>
                      <a:pt x="1759292" y="1456358"/>
                      <a:pt x="1789595" y="1647472"/>
                      <a:pt x="1795207" y="1694689"/>
                    </a:cubicBezTo>
                    <a:cubicBezTo>
                      <a:pt x="1801100" y="1743872"/>
                      <a:pt x="1812463" y="1774085"/>
                      <a:pt x="1825651" y="1801909"/>
                    </a:cubicBezTo>
                    <a:lnTo>
                      <a:pt x="1828692" y="1808083"/>
                    </a:lnTo>
                    <a:lnTo>
                      <a:pt x="1802834" y="1812735"/>
                    </a:lnTo>
                    <a:cubicBezTo>
                      <a:pt x="1764436" y="1823808"/>
                      <a:pt x="1743719" y="1841668"/>
                      <a:pt x="1703714" y="1850240"/>
                    </a:cubicBezTo>
                    <a:lnTo>
                      <a:pt x="1700744" y="1850867"/>
                    </a:lnTo>
                    <a:lnTo>
                      <a:pt x="1699807" y="1846456"/>
                    </a:lnTo>
                    <a:cubicBezTo>
                      <a:pt x="1704296" y="1850391"/>
                      <a:pt x="1652107" y="1773383"/>
                      <a:pt x="1659963" y="1798677"/>
                    </a:cubicBezTo>
                    <a:cubicBezTo>
                      <a:pt x="1641444" y="1736846"/>
                      <a:pt x="1651546" y="1609812"/>
                      <a:pt x="1643689" y="1542922"/>
                    </a:cubicBezTo>
                    <a:cubicBezTo>
                      <a:pt x="1631343" y="1436685"/>
                      <a:pt x="1587010" y="1286604"/>
                      <a:pt x="1516302" y="1255127"/>
                    </a:cubicBezTo>
                    <a:cubicBezTo>
                      <a:pt x="1428197" y="1215780"/>
                      <a:pt x="1175106" y="1272552"/>
                      <a:pt x="1053330" y="1262996"/>
                    </a:cubicBezTo>
                    <a:cubicBezTo>
                      <a:pt x="952318" y="1255689"/>
                      <a:pt x="956247" y="1251192"/>
                      <a:pt x="901812" y="1302905"/>
                    </a:cubicBezTo>
                    <a:cubicBezTo>
                      <a:pt x="881049" y="1322579"/>
                      <a:pt x="875437" y="1344500"/>
                      <a:pt x="845695" y="1359115"/>
                    </a:cubicBezTo>
                    <a:cubicBezTo>
                      <a:pt x="812585" y="1375416"/>
                      <a:pt x="815391" y="1360801"/>
                      <a:pt x="790138" y="1366984"/>
                    </a:cubicBezTo>
                    <a:cubicBezTo>
                      <a:pt x="815391" y="1360801"/>
                      <a:pt x="697544" y="1379351"/>
                      <a:pt x="726164" y="1383285"/>
                    </a:cubicBezTo>
                    <a:cubicBezTo>
                      <a:pt x="712134" y="1381599"/>
                      <a:pt x="666679" y="1350684"/>
                      <a:pt x="662190" y="1351246"/>
                    </a:cubicBezTo>
                    <a:cubicBezTo>
                      <a:pt x="588675" y="1361363"/>
                      <a:pt x="617295" y="1440620"/>
                      <a:pt x="638059" y="1527183"/>
                    </a:cubicBezTo>
                    <a:cubicBezTo>
                      <a:pt x="666258" y="1643959"/>
                      <a:pt x="714029" y="1715205"/>
                      <a:pt x="747042" y="1797834"/>
                    </a:cubicBezTo>
                    <a:lnTo>
                      <a:pt x="749930" y="1807367"/>
                    </a:lnTo>
                    <a:lnTo>
                      <a:pt x="735974" y="1804996"/>
                    </a:lnTo>
                    <a:cubicBezTo>
                      <a:pt x="690889" y="1797535"/>
                      <a:pt x="639454" y="1789915"/>
                      <a:pt x="614054" y="1789280"/>
                    </a:cubicBezTo>
                    <a:lnTo>
                      <a:pt x="598359" y="1790442"/>
                    </a:lnTo>
                    <a:lnTo>
                      <a:pt x="586999" y="1761155"/>
                    </a:lnTo>
                    <a:cubicBezTo>
                      <a:pt x="573629" y="1715408"/>
                      <a:pt x="568052" y="1659839"/>
                      <a:pt x="558372" y="1599132"/>
                    </a:cubicBezTo>
                    <a:cubicBezTo>
                      <a:pt x="544342" y="1509758"/>
                      <a:pt x="485419" y="1336069"/>
                      <a:pt x="423128" y="1295036"/>
                    </a:cubicBezTo>
                    <a:cubicBezTo>
                      <a:pt x="369816" y="1391155"/>
                      <a:pt x="341196" y="1523810"/>
                      <a:pt x="359154" y="1671081"/>
                    </a:cubicBezTo>
                    <a:cubicBezTo>
                      <a:pt x="362241" y="1697780"/>
                      <a:pt x="369676" y="1724480"/>
                      <a:pt x="378585" y="1750126"/>
                    </a:cubicBezTo>
                    <a:lnTo>
                      <a:pt x="405244" y="1818706"/>
                    </a:lnTo>
                    <a:lnTo>
                      <a:pt x="377834" y="1819760"/>
                    </a:lnTo>
                    <a:cubicBezTo>
                      <a:pt x="377834" y="1819760"/>
                      <a:pt x="335924" y="1814363"/>
                      <a:pt x="291157" y="1812616"/>
                    </a:cubicBezTo>
                    <a:lnTo>
                      <a:pt x="285747" y="1812721"/>
                    </a:lnTo>
                    <a:lnTo>
                      <a:pt x="274057" y="1800153"/>
                    </a:lnTo>
                    <a:cubicBezTo>
                      <a:pt x="258668" y="1789930"/>
                      <a:pt x="238781" y="1788560"/>
                      <a:pt x="231205" y="1766638"/>
                    </a:cubicBezTo>
                    <a:cubicBezTo>
                      <a:pt x="212125" y="1708741"/>
                      <a:pt x="239062" y="1651407"/>
                      <a:pt x="239062" y="1590700"/>
                    </a:cubicBezTo>
                    <a:cubicBezTo>
                      <a:pt x="239062" y="1524373"/>
                      <a:pt x="196973" y="1465914"/>
                      <a:pt x="191362" y="1415325"/>
                    </a:cubicBezTo>
                    <a:cubicBezTo>
                      <a:pt x="185189" y="1355742"/>
                      <a:pt x="221104" y="1307964"/>
                      <a:pt x="239062" y="1247257"/>
                    </a:cubicBezTo>
                    <a:cubicBezTo>
                      <a:pt x="302475" y="1037594"/>
                      <a:pt x="263192" y="708203"/>
                      <a:pt x="263192" y="455820"/>
                    </a:cubicBezTo>
                    <a:cubicBezTo>
                      <a:pt x="190800" y="589038"/>
                      <a:pt x="173404" y="700896"/>
                      <a:pt x="167231" y="863343"/>
                    </a:cubicBezTo>
                    <a:cubicBezTo>
                      <a:pt x="164986" y="938664"/>
                      <a:pt x="163303" y="1022979"/>
                      <a:pt x="135805" y="1087621"/>
                    </a:cubicBezTo>
                    <a:cubicBezTo>
                      <a:pt x="109991" y="1147765"/>
                      <a:pt x="67341" y="1168563"/>
                      <a:pt x="63974" y="1238826"/>
                    </a:cubicBezTo>
                    <a:lnTo>
                      <a:pt x="63974" y="1239388"/>
                    </a:lnTo>
                    <a:cubicBezTo>
                      <a:pt x="54996" y="1280421"/>
                      <a:pt x="38160" y="1301219"/>
                      <a:pt x="0" y="1311337"/>
                    </a:cubicBezTo>
                    <a:cubicBezTo>
                      <a:pt x="32548" y="1257937"/>
                      <a:pt x="19080" y="1189923"/>
                      <a:pt x="31987" y="1111229"/>
                    </a:cubicBezTo>
                    <a:cubicBezTo>
                      <a:pt x="44333" y="1033097"/>
                      <a:pt x="80249" y="1007240"/>
                      <a:pt x="103818" y="951592"/>
                    </a:cubicBezTo>
                    <a:cubicBezTo>
                      <a:pt x="139733" y="866153"/>
                      <a:pt x="134683" y="714948"/>
                      <a:pt x="159375" y="591848"/>
                    </a:cubicBezTo>
                    <a:cubicBezTo>
                      <a:pt x="185189" y="463127"/>
                      <a:pt x="227277" y="337217"/>
                      <a:pt x="319310" y="296184"/>
                    </a:cubicBezTo>
                    <a:cubicBezTo>
                      <a:pt x="404749" y="257820"/>
                      <a:pt x="515441" y="259928"/>
                      <a:pt x="622030" y="269308"/>
                    </a:cubicBezTo>
                    <a:lnTo>
                      <a:pt x="724248" y="279689"/>
                    </a:lnTo>
                    <a:lnTo>
                      <a:pt x="753767" y="319009"/>
                    </a:lnTo>
                    <a:cubicBezTo>
                      <a:pt x="821524" y="395858"/>
                      <a:pt x="921104" y="464265"/>
                      <a:pt x="1010292" y="501499"/>
                    </a:cubicBezTo>
                    <a:cubicBezTo>
                      <a:pt x="1188669" y="575967"/>
                      <a:pt x="1593914" y="619263"/>
                      <a:pt x="1758437" y="532672"/>
                    </a:cubicBezTo>
                    <a:cubicBezTo>
                      <a:pt x="1840699" y="489377"/>
                      <a:pt x="1912569" y="388498"/>
                      <a:pt x="1957813" y="280043"/>
                    </a:cubicBezTo>
                    <a:lnTo>
                      <a:pt x="1973660" y="234754"/>
                    </a:lnTo>
                    <a:lnTo>
                      <a:pt x="2058960" y="239974"/>
                    </a:lnTo>
                    <a:cubicBezTo>
                      <a:pt x="2141454" y="242784"/>
                      <a:pt x="2230120" y="252902"/>
                      <a:pt x="2250322" y="192195"/>
                    </a:cubicBezTo>
                    <a:cubicBezTo>
                      <a:pt x="2274453" y="119684"/>
                      <a:pt x="2188031" y="72468"/>
                      <a:pt x="2282309" y="72468"/>
                    </a:cubicBezTo>
                    <a:cubicBezTo>
                      <a:pt x="2309807" y="72468"/>
                      <a:pt x="2338427" y="115187"/>
                      <a:pt x="2354140" y="112377"/>
                    </a:cubicBezTo>
                    <a:cubicBezTo>
                      <a:pt x="2409135" y="101135"/>
                      <a:pt x="2373220" y="71906"/>
                      <a:pt x="2401840" y="40428"/>
                    </a:cubicBezTo>
                    <a:cubicBezTo>
                      <a:pt x="2432424" y="7264"/>
                      <a:pt x="2455292" y="-1027"/>
                      <a:pt x="2480054" y="97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37" name="Group 236">
                <a:extLst>
                  <a:ext uri="{FF2B5EF4-FFF2-40B4-BE49-F238E27FC236}">
                    <a16:creationId xmlns:a16="http://schemas.microsoft.com/office/drawing/2014/main" id="{91D4A145-E6A3-4824-89F3-41932FB38745}"/>
                  </a:ext>
                </a:extLst>
              </p:cNvPr>
              <p:cNvGrpSpPr/>
              <p:nvPr/>
            </p:nvGrpSpPr>
            <p:grpSpPr>
              <a:xfrm>
                <a:off x="4628031" y="2253781"/>
                <a:ext cx="120787" cy="70163"/>
                <a:chOff x="3880384" y="5576888"/>
                <a:chExt cx="393660" cy="195262"/>
              </a:xfrm>
            </p:grpSpPr>
            <p:sp>
              <p:nvSpPr>
                <p:cNvPr id="246" name="Oval 245">
                  <a:extLst>
                    <a:ext uri="{FF2B5EF4-FFF2-40B4-BE49-F238E27FC236}">
                      <a16:creationId xmlns:a16="http://schemas.microsoft.com/office/drawing/2014/main" id="{98559A9A-C53A-4E15-AFBB-8FD7F51F7056}"/>
                    </a:ext>
                  </a:extLst>
                </p:cNvPr>
                <p:cNvSpPr/>
                <p:nvPr/>
              </p:nvSpPr>
              <p:spPr>
                <a:xfrm>
                  <a:off x="3880384" y="5576888"/>
                  <a:ext cx="393660" cy="195262"/>
                </a:xfrm>
                <a:prstGeom prst="ellipse">
                  <a:avLst/>
                </a:prstGeom>
                <a:solidFill>
                  <a:schemeClr val="tx1">
                    <a:lumMod val="95000"/>
                    <a:lumOff val="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47" name="Oval 246">
                  <a:extLst>
                    <a:ext uri="{FF2B5EF4-FFF2-40B4-BE49-F238E27FC236}">
                      <a16:creationId xmlns:a16="http://schemas.microsoft.com/office/drawing/2014/main" id="{856FB643-0242-4D8F-97BB-7BB821630D0F}"/>
                    </a:ext>
                  </a:extLst>
                </p:cNvPr>
                <p:cNvSpPr/>
                <p:nvPr/>
              </p:nvSpPr>
              <p:spPr>
                <a:xfrm>
                  <a:off x="4159741" y="5641181"/>
                  <a:ext cx="66975" cy="66675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238" name="Freeform: Shape 237">
                <a:extLst>
                  <a:ext uri="{FF2B5EF4-FFF2-40B4-BE49-F238E27FC236}">
                    <a16:creationId xmlns:a16="http://schemas.microsoft.com/office/drawing/2014/main" id="{0F32EF68-C8A6-4A12-9289-9D3743F7F1E9}"/>
                  </a:ext>
                </a:extLst>
              </p:cNvPr>
              <p:cNvSpPr/>
              <p:nvPr/>
            </p:nvSpPr>
            <p:spPr>
              <a:xfrm>
                <a:off x="2914356" y="2231703"/>
                <a:ext cx="1249412" cy="361970"/>
              </a:xfrm>
              <a:custGeom>
                <a:avLst/>
                <a:gdLst>
                  <a:gd name="connsiteX0" fmla="*/ 989378 w 1249412"/>
                  <a:gd name="connsiteY0" fmla="*/ 30 h 361970"/>
                  <a:gd name="connsiteX1" fmla="*/ 1219601 w 1249412"/>
                  <a:gd name="connsiteY1" fmla="*/ 14328 h 361970"/>
                  <a:gd name="connsiteX2" fmla="*/ 1249412 w 1249412"/>
                  <a:gd name="connsiteY2" fmla="*/ 16152 h 361970"/>
                  <a:gd name="connsiteX3" fmla="*/ 1233565 w 1249412"/>
                  <a:gd name="connsiteY3" fmla="*/ 61441 h 361970"/>
                  <a:gd name="connsiteX4" fmla="*/ 1034189 w 1249412"/>
                  <a:gd name="connsiteY4" fmla="*/ 314070 h 361970"/>
                  <a:gd name="connsiteX5" fmla="*/ 286044 w 1249412"/>
                  <a:gd name="connsiteY5" fmla="*/ 282897 h 361970"/>
                  <a:gd name="connsiteX6" fmla="*/ 29519 w 1249412"/>
                  <a:gd name="connsiteY6" fmla="*/ 100407 h 361970"/>
                  <a:gd name="connsiteX7" fmla="*/ 0 w 1249412"/>
                  <a:gd name="connsiteY7" fmla="*/ 61087 h 361970"/>
                  <a:gd name="connsiteX8" fmla="*/ 1916 w 1249412"/>
                  <a:gd name="connsiteY8" fmla="*/ 61281 h 361970"/>
                  <a:gd name="connsiteX9" fmla="*/ 871741 w 1249412"/>
                  <a:gd name="connsiteY9" fmla="*/ 5633 h 361970"/>
                  <a:gd name="connsiteX10" fmla="*/ 989378 w 1249412"/>
                  <a:gd name="connsiteY10" fmla="*/ 30 h 3619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249412" h="361970">
                    <a:moveTo>
                      <a:pt x="989378" y="30"/>
                    </a:moveTo>
                    <a:cubicBezTo>
                      <a:pt x="1066961" y="557"/>
                      <a:pt x="1143141" y="8180"/>
                      <a:pt x="1219601" y="14328"/>
                    </a:cubicBezTo>
                    <a:lnTo>
                      <a:pt x="1249412" y="16152"/>
                    </a:lnTo>
                    <a:lnTo>
                      <a:pt x="1233565" y="61441"/>
                    </a:lnTo>
                    <a:cubicBezTo>
                      <a:pt x="1188321" y="169896"/>
                      <a:pt x="1116451" y="270775"/>
                      <a:pt x="1034189" y="314070"/>
                    </a:cubicBezTo>
                    <a:cubicBezTo>
                      <a:pt x="869666" y="400661"/>
                      <a:pt x="464421" y="357365"/>
                      <a:pt x="286044" y="282897"/>
                    </a:cubicBezTo>
                    <a:cubicBezTo>
                      <a:pt x="196856" y="245663"/>
                      <a:pt x="97276" y="177256"/>
                      <a:pt x="29519" y="100407"/>
                    </a:cubicBezTo>
                    <a:lnTo>
                      <a:pt x="0" y="61087"/>
                    </a:lnTo>
                    <a:lnTo>
                      <a:pt x="1916" y="61281"/>
                    </a:lnTo>
                    <a:cubicBezTo>
                      <a:pt x="303829" y="93882"/>
                      <a:pt x="584979" y="36548"/>
                      <a:pt x="871741" y="5633"/>
                    </a:cubicBezTo>
                    <a:cubicBezTo>
                      <a:pt x="911444" y="1277"/>
                      <a:pt x="950587" y="-234"/>
                      <a:pt x="989378" y="30"/>
                    </a:cubicBez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9" name="Freeform: Shape 238">
                <a:extLst>
                  <a:ext uri="{FF2B5EF4-FFF2-40B4-BE49-F238E27FC236}">
                    <a16:creationId xmlns:a16="http://schemas.microsoft.com/office/drawing/2014/main" id="{127D39E9-FAC4-4250-9B51-97070ED1206C}"/>
                  </a:ext>
                </a:extLst>
              </p:cNvPr>
              <p:cNvSpPr/>
              <p:nvPr/>
            </p:nvSpPr>
            <p:spPr>
              <a:xfrm>
                <a:off x="3926935" y="3092590"/>
                <a:ext cx="436027" cy="419921"/>
              </a:xfrm>
              <a:custGeom>
                <a:avLst/>
                <a:gdLst>
                  <a:gd name="connsiteX0" fmla="*/ 320025 w 436027"/>
                  <a:gd name="connsiteY0" fmla="*/ 5 h 419921"/>
                  <a:gd name="connsiteX1" fmla="*/ 429454 w 436027"/>
                  <a:gd name="connsiteY1" fmla="*/ 5201 h 419921"/>
                  <a:gd name="connsiteX2" fmla="*/ 436027 w 436027"/>
                  <a:gd name="connsiteY2" fmla="*/ 6202 h 419921"/>
                  <a:gd name="connsiteX3" fmla="*/ 425108 w 436027"/>
                  <a:gd name="connsiteY3" fmla="*/ 29966 h 419921"/>
                  <a:gd name="connsiteX4" fmla="*/ 393963 w 436027"/>
                  <a:gd name="connsiteY4" fmla="*/ 87950 h 419921"/>
                  <a:gd name="connsiteX5" fmla="*/ 234028 w 436027"/>
                  <a:gd name="connsiteY5" fmla="*/ 207677 h 419921"/>
                  <a:gd name="connsiteX6" fmla="*/ 213896 w 436027"/>
                  <a:gd name="connsiteY6" fmla="*/ 405607 h 419921"/>
                  <a:gd name="connsiteX7" fmla="*/ 216317 w 436027"/>
                  <a:gd name="connsiteY7" fmla="*/ 419921 h 419921"/>
                  <a:gd name="connsiteX8" fmla="*/ 185917 w 436027"/>
                  <a:gd name="connsiteY8" fmla="*/ 405900 h 419921"/>
                  <a:gd name="connsiteX9" fmla="*/ 63174 w 436027"/>
                  <a:gd name="connsiteY9" fmla="*/ 315629 h 419921"/>
                  <a:gd name="connsiteX10" fmla="*/ 11220 w 436027"/>
                  <a:gd name="connsiteY10" fmla="*/ 118202 h 419921"/>
                  <a:gd name="connsiteX11" fmla="*/ 229429 w 436027"/>
                  <a:gd name="connsiteY11" fmla="*/ 3902 h 419921"/>
                  <a:gd name="connsiteX12" fmla="*/ 320025 w 436027"/>
                  <a:gd name="connsiteY12" fmla="*/ 5 h 4199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36027" h="419921">
                    <a:moveTo>
                      <a:pt x="320025" y="5"/>
                    </a:moveTo>
                    <a:cubicBezTo>
                      <a:pt x="355202" y="-103"/>
                      <a:pt x="393519" y="1304"/>
                      <a:pt x="429454" y="5201"/>
                    </a:cubicBezTo>
                    <a:lnTo>
                      <a:pt x="436027" y="6202"/>
                    </a:lnTo>
                    <a:lnTo>
                      <a:pt x="425108" y="29966"/>
                    </a:lnTo>
                    <a:cubicBezTo>
                      <a:pt x="414657" y="51414"/>
                      <a:pt x="404205" y="71228"/>
                      <a:pt x="393963" y="87950"/>
                    </a:cubicBezTo>
                    <a:cubicBezTo>
                      <a:pt x="354120" y="152029"/>
                      <a:pt x="267137" y="156526"/>
                      <a:pt x="234028" y="207677"/>
                    </a:cubicBezTo>
                    <a:cubicBezTo>
                      <a:pt x="207372" y="248992"/>
                      <a:pt x="205268" y="326983"/>
                      <a:pt x="213896" y="405607"/>
                    </a:cubicBezTo>
                    <a:lnTo>
                      <a:pt x="216317" y="419921"/>
                    </a:lnTo>
                    <a:lnTo>
                      <a:pt x="185917" y="405900"/>
                    </a:lnTo>
                    <a:cubicBezTo>
                      <a:pt x="135910" y="379274"/>
                      <a:pt x="90017" y="341607"/>
                      <a:pt x="63174" y="315629"/>
                    </a:cubicBezTo>
                    <a:cubicBezTo>
                      <a:pt x="9488" y="263674"/>
                      <a:pt x="-16489" y="170156"/>
                      <a:pt x="11220" y="118202"/>
                    </a:cubicBezTo>
                    <a:cubicBezTo>
                      <a:pt x="38929" y="66248"/>
                      <a:pt x="135911" y="12561"/>
                      <a:pt x="229429" y="3902"/>
                    </a:cubicBezTo>
                    <a:cubicBezTo>
                      <a:pt x="252809" y="1737"/>
                      <a:pt x="284847" y="114"/>
                      <a:pt x="320025" y="5"/>
                    </a:cubicBez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0" name="Freeform: Shape 239">
                <a:extLst>
                  <a:ext uri="{FF2B5EF4-FFF2-40B4-BE49-F238E27FC236}">
                    <a16:creationId xmlns:a16="http://schemas.microsoft.com/office/drawing/2014/main" id="{FEACB3F1-C51D-427B-AD2C-CB3B0F4051C0}"/>
                  </a:ext>
                </a:extLst>
              </p:cNvPr>
              <p:cNvSpPr/>
              <p:nvPr/>
            </p:nvSpPr>
            <p:spPr>
              <a:xfrm>
                <a:off x="2677357" y="2762236"/>
                <a:ext cx="983543" cy="427908"/>
              </a:xfrm>
              <a:custGeom>
                <a:avLst/>
                <a:gdLst>
                  <a:gd name="connsiteX0" fmla="*/ 117798 w 983543"/>
                  <a:gd name="connsiteY0" fmla="*/ 53700 h 427908"/>
                  <a:gd name="connsiteX1" fmla="*/ 3498 w 983543"/>
                  <a:gd name="connsiteY1" fmla="*/ 323864 h 427908"/>
                  <a:gd name="connsiteX2" fmla="*/ 252879 w 983543"/>
                  <a:gd name="connsiteY2" fmla="*/ 427773 h 427908"/>
                  <a:gd name="connsiteX3" fmla="*/ 564607 w 983543"/>
                  <a:gd name="connsiteY3" fmla="*/ 344646 h 427908"/>
                  <a:gd name="connsiteX4" fmla="*/ 793207 w 983543"/>
                  <a:gd name="connsiteY4" fmla="*/ 292691 h 427908"/>
                  <a:gd name="connsiteX5" fmla="*/ 959461 w 983543"/>
                  <a:gd name="connsiteY5" fmla="*/ 261519 h 427908"/>
                  <a:gd name="connsiteX6" fmla="*/ 907507 w 983543"/>
                  <a:gd name="connsiteY6" fmla="*/ 95264 h 427908"/>
                  <a:gd name="connsiteX7" fmla="*/ 273661 w 983543"/>
                  <a:gd name="connsiteY7" fmla="*/ 1746 h 427908"/>
                  <a:gd name="connsiteX8" fmla="*/ 117798 w 983543"/>
                  <a:gd name="connsiteY8" fmla="*/ 53700 h 427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83543" h="427908">
                    <a:moveTo>
                      <a:pt x="117798" y="53700"/>
                    </a:moveTo>
                    <a:cubicBezTo>
                      <a:pt x="72771" y="107386"/>
                      <a:pt x="-19015" y="261519"/>
                      <a:pt x="3498" y="323864"/>
                    </a:cubicBezTo>
                    <a:cubicBezTo>
                      <a:pt x="26011" y="386209"/>
                      <a:pt x="159361" y="424309"/>
                      <a:pt x="252879" y="427773"/>
                    </a:cubicBezTo>
                    <a:cubicBezTo>
                      <a:pt x="346397" y="431237"/>
                      <a:pt x="474552" y="367160"/>
                      <a:pt x="564607" y="344646"/>
                    </a:cubicBezTo>
                    <a:cubicBezTo>
                      <a:pt x="654662" y="322132"/>
                      <a:pt x="727398" y="306546"/>
                      <a:pt x="793207" y="292691"/>
                    </a:cubicBezTo>
                    <a:cubicBezTo>
                      <a:pt x="859016" y="278837"/>
                      <a:pt x="940411" y="294424"/>
                      <a:pt x="959461" y="261519"/>
                    </a:cubicBezTo>
                    <a:cubicBezTo>
                      <a:pt x="978511" y="228615"/>
                      <a:pt x="1021807" y="138559"/>
                      <a:pt x="907507" y="95264"/>
                    </a:cubicBezTo>
                    <a:cubicBezTo>
                      <a:pt x="793207" y="51969"/>
                      <a:pt x="401816" y="6941"/>
                      <a:pt x="273661" y="1746"/>
                    </a:cubicBezTo>
                    <a:cubicBezTo>
                      <a:pt x="145506" y="-3450"/>
                      <a:pt x="162825" y="14"/>
                      <a:pt x="117798" y="53700"/>
                    </a:cubicBez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1" name="Freeform: Shape 240">
                <a:extLst>
                  <a:ext uri="{FF2B5EF4-FFF2-40B4-BE49-F238E27FC236}">
                    <a16:creationId xmlns:a16="http://schemas.microsoft.com/office/drawing/2014/main" id="{6D4EAB11-C576-41D1-B9A7-960E612B2F9B}"/>
                  </a:ext>
                </a:extLst>
              </p:cNvPr>
              <p:cNvSpPr/>
              <p:nvPr/>
            </p:nvSpPr>
            <p:spPr>
              <a:xfrm>
                <a:off x="4298454" y="2498525"/>
                <a:ext cx="278709" cy="475805"/>
              </a:xfrm>
              <a:custGeom>
                <a:avLst/>
                <a:gdLst>
                  <a:gd name="connsiteX0" fmla="*/ 142541 w 278709"/>
                  <a:gd name="connsiteY0" fmla="*/ 2 h 475805"/>
                  <a:gd name="connsiteX1" fmla="*/ 254497 w 278709"/>
                  <a:gd name="connsiteY1" fmla="*/ 30363 h 475805"/>
                  <a:gd name="connsiteX2" fmla="*/ 272022 w 278709"/>
                  <a:gd name="connsiteY2" fmla="*/ 145444 h 475805"/>
                  <a:gd name="connsiteX3" fmla="*/ 278709 w 278709"/>
                  <a:gd name="connsiteY3" fmla="*/ 164064 h 475805"/>
                  <a:gd name="connsiteX4" fmla="*/ 276526 w 278709"/>
                  <a:gd name="connsiteY4" fmla="*/ 166199 h 475805"/>
                  <a:gd name="connsiteX5" fmla="*/ 141975 w 278709"/>
                  <a:gd name="connsiteY5" fmla="*/ 426258 h 475805"/>
                  <a:gd name="connsiteX6" fmla="*/ 119808 w 278709"/>
                  <a:gd name="connsiteY6" fmla="*/ 475805 h 475805"/>
                  <a:gd name="connsiteX7" fmla="*/ 102097 w 278709"/>
                  <a:gd name="connsiteY7" fmla="*/ 454225 h 475805"/>
                  <a:gd name="connsiteX8" fmla="*/ 11610 w 278709"/>
                  <a:gd name="connsiteY8" fmla="*/ 220863 h 475805"/>
                  <a:gd name="connsiteX9" fmla="*/ 11610 w 278709"/>
                  <a:gd name="connsiteY9" fmla="*/ 54175 h 475805"/>
                  <a:gd name="connsiteX10" fmla="*/ 106860 w 278709"/>
                  <a:gd name="connsiteY10" fmla="*/ 1788 h 475805"/>
                  <a:gd name="connsiteX11" fmla="*/ 142541 w 278709"/>
                  <a:gd name="connsiteY11" fmla="*/ 2 h 4758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78709" h="475805">
                    <a:moveTo>
                      <a:pt x="142541" y="2"/>
                    </a:moveTo>
                    <a:cubicBezTo>
                      <a:pt x="182316" y="-147"/>
                      <a:pt x="230685" y="5956"/>
                      <a:pt x="254497" y="30363"/>
                    </a:cubicBezTo>
                    <a:cubicBezTo>
                      <a:pt x="278310" y="54770"/>
                      <a:pt x="259706" y="96145"/>
                      <a:pt x="272022" y="145444"/>
                    </a:cubicBezTo>
                    <a:lnTo>
                      <a:pt x="278709" y="164064"/>
                    </a:lnTo>
                    <a:lnTo>
                      <a:pt x="276526" y="166199"/>
                    </a:lnTo>
                    <a:cubicBezTo>
                      <a:pt x="220470" y="231070"/>
                      <a:pt x="186589" y="330561"/>
                      <a:pt x="141975" y="426258"/>
                    </a:cubicBezTo>
                    <a:lnTo>
                      <a:pt x="119808" y="475805"/>
                    </a:lnTo>
                    <a:lnTo>
                      <a:pt x="102097" y="454225"/>
                    </a:lnTo>
                    <a:cubicBezTo>
                      <a:pt x="53678" y="391519"/>
                      <a:pt x="26691" y="287538"/>
                      <a:pt x="11610" y="220863"/>
                    </a:cubicBezTo>
                    <a:cubicBezTo>
                      <a:pt x="-3471" y="154188"/>
                      <a:pt x="-4265" y="90687"/>
                      <a:pt x="11610" y="54175"/>
                    </a:cubicBezTo>
                    <a:cubicBezTo>
                      <a:pt x="27485" y="17662"/>
                      <a:pt x="66379" y="5757"/>
                      <a:pt x="106860" y="1788"/>
                    </a:cubicBezTo>
                    <a:cubicBezTo>
                      <a:pt x="116980" y="796"/>
                      <a:pt x="129284" y="52"/>
                      <a:pt x="142541" y="2"/>
                    </a:cubicBez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2" name="Freeform: Shape 241">
                <a:extLst>
                  <a:ext uri="{FF2B5EF4-FFF2-40B4-BE49-F238E27FC236}">
                    <a16:creationId xmlns:a16="http://schemas.microsoft.com/office/drawing/2014/main" id="{FBA32D20-EA1E-41D2-9B85-D2DEC1421829}"/>
                  </a:ext>
                </a:extLst>
              </p:cNvPr>
              <p:cNvSpPr/>
              <p:nvPr/>
            </p:nvSpPr>
            <p:spPr>
              <a:xfrm>
                <a:off x="2788465" y="3802381"/>
                <a:ext cx="175505" cy="97085"/>
              </a:xfrm>
              <a:custGeom>
                <a:avLst/>
                <a:gdLst>
                  <a:gd name="connsiteX0" fmla="*/ 15695 w 175505"/>
                  <a:gd name="connsiteY0" fmla="*/ 0 h 97085"/>
                  <a:gd name="connsiteX1" fmla="*/ 137615 w 175505"/>
                  <a:gd name="connsiteY1" fmla="*/ 15716 h 97085"/>
                  <a:gd name="connsiteX2" fmla="*/ 151571 w 175505"/>
                  <a:gd name="connsiteY2" fmla="*/ 18087 h 97085"/>
                  <a:gd name="connsiteX3" fmla="*/ 175505 w 175505"/>
                  <a:gd name="connsiteY3" fmla="*/ 97085 h 97085"/>
                  <a:gd name="connsiteX4" fmla="*/ 5047 w 175505"/>
                  <a:gd name="connsiteY4" fmla="*/ 14175 h 97085"/>
                  <a:gd name="connsiteX5" fmla="*/ 0 w 175505"/>
                  <a:gd name="connsiteY5" fmla="*/ 1162 h 97085"/>
                  <a:gd name="connsiteX6" fmla="*/ 15695 w 175505"/>
                  <a:gd name="connsiteY6" fmla="*/ 0 h 970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5505" h="97085">
                    <a:moveTo>
                      <a:pt x="15695" y="0"/>
                    </a:moveTo>
                    <a:cubicBezTo>
                      <a:pt x="41095" y="635"/>
                      <a:pt x="92530" y="8255"/>
                      <a:pt x="137615" y="15716"/>
                    </a:cubicBezTo>
                    <a:lnTo>
                      <a:pt x="151571" y="18087"/>
                    </a:lnTo>
                    <a:lnTo>
                      <a:pt x="175505" y="97085"/>
                    </a:lnTo>
                    <a:cubicBezTo>
                      <a:pt x="78983" y="97085"/>
                      <a:pt x="31563" y="65748"/>
                      <a:pt x="5047" y="14175"/>
                    </a:cubicBezTo>
                    <a:lnTo>
                      <a:pt x="0" y="1162"/>
                    </a:lnTo>
                    <a:lnTo>
                      <a:pt x="15695" y="0"/>
                    </a:ln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3" name="Freeform: Shape 242">
                <a:extLst>
                  <a:ext uri="{FF2B5EF4-FFF2-40B4-BE49-F238E27FC236}">
                    <a16:creationId xmlns:a16="http://schemas.microsoft.com/office/drawing/2014/main" id="{EB4E2DB6-58D3-4617-80A2-7951BAB6C1EF}"/>
                  </a:ext>
                </a:extLst>
              </p:cNvPr>
              <p:cNvSpPr/>
              <p:nvPr/>
            </p:nvSpPr>
            <p:spPr>
              <a:xfrm>
                <a:off x="4114631" y="3807620"/>
                <a:ext cx="158005" cy="100357"/>
              </a:xfrm>
              <a:custGeom>
                <a:avLst/>
                <a:gdLst>
                  <a:gd name="connsiteX0" fmla="*/ 76369 w 158005"/>
                  <a:gd name="connsiteY0" fmla="*/ 0 h 100357"/>
                  <a:gd name="connsiteX1" fmla="*/ 125188 w 158005"/>
                  <a:gd name="connsiteY1" fmla="*/ 1632 h 100357"/>
                  <a:gd name="connsiteX2" fmla="*/ 143379 w 158005"/>
                  <a:gd name="connsiteY2" fmla="*/ 40748 h 100357"/>
                  <a:gd name="connsiteX3" fmla="*/ 158005 w 158005"/>
                  <a:gd name="connsiteY3" fmla="*/ 100278 h 100357"/>
                  <a:gd name="connsiteX4" fmla="*/ 5202 w 158005"/>
                  <a:gd name="connsiteY4" fmla="*/ 32550 h 100357"/>
                  <a:gd name="connsiteX5" fmla="*/ 0 w 158005"/>
                  <a:gd name="connsiteY5" fmla="*/ 3845 h 100357"/>
                  <a:gd name="connsiteX6" fmla="*/ 76369 w 158005"/>
                  <a:gd name="connsiteY6" fmla="*/ 0 h 1003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58005" h="100357">
                    <a:moveTo>
                      <a:pt x="76369" y="0"/>
                    </a:moveTo>
                    <a:lnTo>
                      <a:pt x="125188" y="1632"/>
                    </a:lnTo>
                    <a:lnTo>
                      <a:pt x="143379" y="40748"/>
                    </a:lnTo>
                    <a:cubicBezTo>
                      <a:pt x="149903" y="58402"/>
                      <a:pt x="155059" y="77794"/>
                      <a:pt x="158005" y="100278"/>
                    </a:cubicBezTo>
                    <a:cubicBezTo>
                      <a:pt x="38685" y="100278"/>
                      <a:pt x="20332" y="105442"/>
                      <a:pt x="5202" y="32550"/>
                    </a:cubicBezTo>
                    <a:lnTo>
                      <a:pt x="0" y="3845"/>
                    </a:lnTo>
                    <a:lnTo>
                      <a:pt x="76369" y="0"/>
                    </a:ln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4" name="Freeform: Shape 243">
                <a:extLst>
                  <a:ext uri="{FF2B5EF4-FFF2-40B4-BE49-F238E27FC236}">
                    <a16:creationId xmlns:a16="http://schemas.microsoft.com/office/drawing/2014/main" id="{01A32FEB-B78C-465B-B2B8-63245D1039E8}"/>
                  </a:ext>
                </a:extLst>
              </p:cNvPr>
              <p:cNvSpPr/>
              <p:nvPr/>
            </p:nvSpPr>
            <p:spPr>
              <a:xfrm>
                <a:off x="3887583" y="3821184"/>
                <a:ext cx="169561" cy="95207"/>
              </a:xfrm>
              <a:custGeom>
                <a:avLst/>
                <a:gdLst>
                  <a:gd name="connsiteX0" fmla="*/ 131215 w 169561"/>
                  <a:gd name="connsiteY0" fmla="*/ 0 h 95207"/>
                  <a:gd name="connsiteX1" fmla="*/ 148867 w 169561"/>
                  <a:gd name="connsiteY1" fmla="*/ 35843 h 95207"/>
                  <a:gd name="connsiteX2" fmla="*/ 169561 w 169561"/>
                  <a:gd name="connsiteY2" fmla="*/ 86714 h 95207"/>
                  <a:gd name="connsiteX3" fmla="*/ 2330 w 169561"/>
                  <a:gd name="connsiteY3" fmla="*/ 86714 h 95207"/>
                  <a:gd name="connsiteX4" fmla="*/ 4303 w 169561"/>
                  <a:gd name="connsiteY4" fmla="*/ 47665 h 95207"/>
                  <a:gd name="connsiteX5" fmla="*/ 3267 w 169561"/>
                  <a:gd name="connsiteY5" fmla="*/ 42784 h 95207"/>
                  <a:gd name="connsiteX6" fmla="*/ 6237 w 169561"/>
                  <a:gd name="connsiteY6" fmla="*/ 42157 h 95207"/>
                  <a:gd name="connsiteX7" fmla="*/ 105357 w 169561"/>
                  <a:gd name="connsiteY7" fmla="*/ 4652 h 95207"/>
                  <a:gd name="connsiteX8" fmla="*/ 131215 w 169561"/>
                  <a:gd name="connsiteY8" fmla="*/ 0 h 95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9561" h="95207">
                    <a:moveTo>
                      <a:pt x="131215" y="0"/>
                    </a:moveTo>
                    <a:lnTo>
                      <a:pt x="148867" y="35843"/>
                    </a:lnTo>
                    <a:cubicBezTo>
                      <a:pt x="155917" y="50634"/>
                      <a:pt x="162967" y="66900"/>
                      <a:pt x="169561" y="86714"/>
                    </a:cubicBezTo>
                    <a:cubicBezTo>
                      <a:pt x="135890" y="86714"/>
                      <a:pt x="27022" y="105825"/>
                      <a:pt x="2330" y="86714"/>
                    </a:cubicBezTo>
                    <a:cubicBezTo>
                      <a:pt x="-3563" y="82076"/>
                      <a:pt x="3487" y="60681"/>
                      <a:pt x="4303" y="47665"/>
                    </a:cubicBezTo>
                    <a:lnTo>
                      <a:pt x="3267" y="42784"/>
                    </a:lnTo>
                    <a:lnTo>
                      <a:pt x="6237" y="42157"/>
                    </a:lnTo>
                    <a:cubicBezTo>
                      <a:pt x="46242" y="33585"/>
                      <a:pt x="66959" y="15725"/>
                      <a:pt x="105357" y="4652"/>
                    </a:cubicBezTo>
                    <a:lnTo>
                      <a:pt x="131215" y="0"/>
                    </a:ln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5" name="Freeform: Shape 244">
                <a:extLst>
                  <a:ext uri="{FF2B5EF4-FFF2-40B4-BE49-F238E27FC236}">
                    <a16:creationId xmlns:a16="http://schemas.microsoft.com/office/drawing/2014/main" id="{73CE122F-A481-447F-84BF-C60467AB5357}"/>
                  </a:ext>
                </a:extLst>
              </p:cNvPr>
              <p:cNvSpPr/>
              <p:nvPr/>
            </p:nvSpPr>
            <p:spPr>
              <a:xfrm>
                <a:off x="2470780" y="3825717"/>
                <a:ext cx="159017" cy="103943"/>
              </a:xfrm>
              <a:custGeom>
                <a:avLst/>
                <a:gdLst>
                  <a:gd name="connsiteX0" fmla="*/ 10483 w 159017"/>
                  <a:gd name="connsiteY0" fmla="*/ 0 h 103943"/>
                  <a:gd name="connsiteX1" fmla="*/ 97160 w 159017"/>
                  <a:gd name="connsiteY1" fmla="*/ 7144 h 103943"/>
                  <a:gd name="connsiteX2" fmla="*/ 124570 w 159017"/>
                  <a:gd name="connsiteY2" fmla="*/ 6090 h 103943"/>
                  <a:gd name="connsiteX3" fmla="*/ 126180 w 159017"/>
                  <a:gd name="connsiteY3" fmla="*/ 10232 h 103943"/>
                  <a:gd name="connsiteX4" fmla="*/ 158167 w 159017"/>
                  <a:gd name="connsiteY4" fmla="*/ 73749 h 103943"/>
                  <a:gd name="connsiteX5" fmla="*/ 6649 w 159017"/>
                  <a:gd name="connsiteY5" fmla="*/ 82181 h 103943"/>
                  <a:gd name="connsiteX6" fmla="*/ 6649 w 159017"/>
                  <a:gd name="connsiteY6" fmla="*/ 1800 h 103943"/>
                  <a:gd name="connsiteX7" fmla="*/ 5073 w 159017"/>
                  <a:gd name="connsiteY7" fmla="*/ 105 h 103943"/>
                  <a:gd name="connsiteX8" fmla="*/ 10483 w 159017"/>
                  <a:gd name="connsiteY8" fmla="*/ 0 h 1039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59017" h="103943">
                    <a:moveTo>
                      <a:pt x="10483" y="0"/>
                    </a:moveTo>
                    <a:cubicBezTo>
                      <a:pt x="55250" y="1747"/>
                      <a:pt x="97160" y="7144"/>
                      <a:pt x="97160" y="7144"/>
                    </a:cubicBezTo>
                    <a:lnTo>
                      <a:pt x="124570" y="6090"/>
                    </a:lnTo>
                    <a:lnTo>
                      <a:pt x="126180" y="10232"/>
                    </a:lnTo>
                    <a:cubicBezTo>
                      <a:pt x="129547" y="18663"/>
                      <a:pt x="164901" y="60821"/>
                      <a:pt x="158167" y="73749"/>
                    </a:cubicBezTo>
                    <a:cubicBezTo>
                      <a:pt x="137403" y="113658"/>
                      <a:pt x="35830" y="111410"/>
                      <a:pt x="6649" y="82181"/>
                    </a:cubicBezTo>
                    <a:cubicBezTo>
                      <a:pt x="-9625" y="65880"/>
                      <a:pt x="9455" y="7983"/>
                      <a:pt x="6649" y="1800"/>
                    </a:cubicBezTo>
                    <a:lnTo>
                      <a:pt x="5073" y="105"/>
                    </a:lnTo>
                    <a:lnTo>
                      <a:pt x="10483" y="0"/>
                    </a:lnTo>
                    <a:close/>
                  </a:path>
                </a:pathLst>
              </a:custGeom>
              <a:solidFill>
                <a:schemeClr val="tx1">
                  <a:lumMod val="75000"/>
                  <a:lumOff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248" name="Group 247">
            <a:extLst>
              <a:ext uri="{FF2B5EF4-FFF2-40B4-BE49-F238E27FC236}">
                <a16:creationId xmlns:a16="http://schemas.microsoft.com/office/drawing/2014/main" id="{BCFFB5B8-EDA3-4900-B8B8-DC76BA04C8BB}"/>
              </a:ext>
            </a:extLst>
          </p:cNvPr>
          <p:cNvGrpSpPr/>
          <p:nvPr/>
        </p:nvGrpSpPr>
        <p:grpSpPr>
          <a:xfrm flipH="1">
            <a:off x="7501940" y="4535423"/>
            <a:ext cx="1223439" cy="2067461"/>
            <a:chOff x="2820309" y="378736"/>
            <a:chExt cx="3654564" cy="6175768"/>
          </a:xfrm>
        </p:grpSpPr>
        <p:sp>
          <p:nvSpPr>
            <p:cNvPr id="249" name="Oval 248">
              <a:extLst>
                <a:ext uri="{FF2B5EF4-FFF2-40B4-BE49-F238E27FC236}">
                  <a16:creationId xmlns:a16="http://schemas.microsoft.com/office/drawing/2014/main" id="{3F6C83C0-38AB-4090-B030-87F898D1F0CF}"/>
                </a:ext>
              </a:extLst>
            </p:cNvPr>
            <p:cNvSpPr/>
            <p:nvPr/>
          </p:nvSpPr>
          <p:spPr>
            <a:xfrm>
              <a:off x="3007972" y="6213531"/>
              <a:ext cx="2917599" cy="340973"/>
            </a:xfrm>
            <a:prstGeom prst="ellipse">
              <a:avLst/>
            </a:prstGeom>
            <a:solidFill>
              <a:schemeClr val="tx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50" name="Group 249">
              <a:extLst>
                <a:ext uri="{FF2B5EF4-FFF2-40B4-BE49-F238E27FC236}">
                  <a16:creationId xmlns:a16="http://schemas.microsoft.com/office/drawing/2014/main" id="{ED103149-F73F-465B-BF52-4A638DE34321}"/>
                </a:ext>
              </a:extLst>
            </p:cNvPr>
            <p:cNvGrpSpPr/>
            <p:nvPr/>
          </p:nvGrpSpPr>
          <p:grpSpPr>
            <a:xfrm>
              <a:off x="2820309" y="378736"/>
              <a:ext cx="3654564" cy="6005282"/>
              <a:chOff x="2820309" y="378736"/>
              <a:chExt cx="3654564" cy="6005282"/>
            </a:xfrm>
          </p:grpSpPr>
          <p:sp>
            <p:nvSpPr>
              <p:cNvPr id="251" name="Oval 250">
                <a:extLst>
                  <a:ext uri="{FF2B5EF4-FFF2-40B4-BE49-F238E27FC236}">
                    <a16:creationId xmlns:a16="http://schemas.microsoft.com/office/drawing/2014/main" id="{0B1F905C-9C6A-4F6C-B53E-156ED39FFAEB}"/>
                  </a:ext>
                </a:extLst>
              </p:cNvPr>
              <p:cNvSpPr/>
              <p:nvPr/>
            </p:nvSpPr>
            <p:spPr>
              <a:xfrm>
                <a:off x="3147673" y="871875"/>
                <a:ext cx="2892653" cy="2892653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2" name="Oval 251">
                <a:extLst>
                  <a:ext uri="{FF2B5EF4-FFF2-40B4-BE49-F238E27FC236}">
                    <a16:creationId xmlns:a16="http://schemas.microsoft.com/office/drawing/2014/main" id="{68B633E3-3454-44D9-8D5D-0FA3B2485BAE}"/>
                  </a:ext>
                </a:extLst>
              </p:cNvPr>
              <p:cNvSpPr/>
              <p:nvPr/>
            </p:nvSpPr>
            <p:spPr>
              <a:xfrm>
                <a:off x="3922657" y="2642142"/>
                <a:ext cx="745216" cy="745216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53" name="Group 252">
                <a:extLst>
                  <a:ext uri="{FF2B5EF4-FFF2-40B4-BE49-F238E27FC236}">
                    <a16:creationId xmlns:a16="http://schemas.microsoft.com/office/drawing/2014/main" id="{3A8E675E-EAF4-4B8E-B271-91568305E838}"/>
                  </a:ext>
                </a:extLst>
              </p:cNvPr>
              <p:cNvGrpSpPr/>
              <p:nvPr/>
            </p:nvGrpSpPr>
            <p:grpSpPr>
              <a:xfrm>
                <a:off x="3439887" y="473982"/>
                <a:ext cx="2026556" cy="5910036"/>
                <a:chOff x="7271658" y="947964"/>
                <a:chExt cx="2026556" cy="5910036"/>
              </a:xfrm>
            </p:grpSpPr>
            <p:grpSp>
              <p:nvGrpSpPr>
                <p:cNvPr id="266" name="Group 265">
                  <a:extLst>
                    <a:ext uri="{FF2B5EF4-FFF2-40B4-BE49-F238E27FC236}">
                      <a16:creationId xmlns:a16="http://schemas.microsoft.com/office/drawing/2014/main" id="{0F014C21-BFD0-4390-8452-81808E323D34}"/>
                    </a:ext>
                  </a:extLst>
                </p:cNvPr>
                <p:cNvGrpSpPr/>
                <p:nvPr/>
              </p:nvGrpSpPr>
              <p:grpSpPr>
                <a:xfrm>
                  <a:off x="8069943" y="2324100"/>
                  <a:ext cx="457200" cy="4533900"/>
                  <a:chOff x="8069943" y="2324100"/>
                  <a:chExt cx="457200" cy="4533900"/>
                </a:xfrm>
              </p:grpSpPr>
              <p:sp>
                <p:nvSpPr>
                  <p:cNvPr id="271" name="Freeform: Shape 270">
                    <a:extLst>
                      <a:ext uri="{FF2B5EF4-FFF2-40B4-BE49-F238E27FC236}">
                        <a16:creationId xmlns:a16="http://schemas.microsoft.com/office/drawing/2014/main" id="{FF95A17A-AAC6-4738-9AAF-35118B7E1B5D}"/>
                      </a:ext>
                    </a:extLst>
                  </p:cNvPr>
                  <p:cNvSpPr/>
                  <p:nvPr/>
                </p:nvSpPr>
                <p:spPr>
                  <a:xfrm>
                    <a:off x="8298543" y="2324100"/>
                    <a:ext cx="228600" cy="4533900"/>
                  </a:xfrm>
                  <a:custGeom>
                    <a:avLst/>
                    <a:gdLst>
                      <a:gd name="connsiteX0" fmla="*/ 0 w 228600"/>
                      <a:gd name="connsiteY0" fmla="*/ 0 h 4533900"/>
                      <a:gd name="connsiteX1" fmla="*/ 114300 w 228600"/>
                      <a:gd name="connsiteY1" fmla="*/ 0 h 4533900"/>
                      <a:gd name="connsiteX2" fmla="*/ 228600 w 228600"/>
                      <a:gd name="connsiteY2" fmla="*/ 4533900 h 4533900"/>
                      <a:gd name="connsiteX3" fmla="*/ 0 w 228600"/>
                      <a:gd name="connsiteY3" fmla="*/ 4533900 h 4533900"/>
                      <a:gd name="connsiteX4" fmla="*/ 0 w 228600"/>
                      <a:gd name="connsiteY4" fmla="*/ 0 h 4533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8600" h="4533900">
                        <a:moveTo>
                          <a:pt x="0" y="0"/>
                        </a:moveTo>
                        <a:lnTo>
                          <a:pt x="114300" y="0"/>
                        </a:lnTo>
                        <a:lnTo>
                          <a:pt x="228600" y="4533900"/>
                        </a:lnTo>
                        <a:lnTo>
                          <a:pt x="0" y="453390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72" name="Freeform: Shape 271">
                    <a:extLst>
                      <a:ext uri="{FF2B5EF4-FFF2-40B4-BE49-F238E27FC236}">
                        <a16:creationId xmlns:a16="http://schemas.microsoft.com/office/drawing/2014/main" id="{5C606641-108E-4000-B1A4-5C4E842CDD81}"/>
                      </a:ext>
                    </a:extLst>
                  </p:cNvPr>
                  <p:cNvSpPr/>
                  <p:nvPr/>
                </p:nvSpPr>
                <p:spPr>
                  <a:xfrm>
                    <a:off x="8069943" y="2324100"/>
                    <a:ext cx="228600" cy="4533900"/>
                  </a:xfrm>
                  <a:custGeom>
                    <a:avLst/>
                    <a:gdLst>
                      <a:gd name="connsiteX0" fmla="*/ 114300 w 228600"/>
                      <a:gd name="connsiteY0" fmla="*/ 0 h 4533900"/>
                      <a:gd name="connsiteX1" fmla="*/ 228600 w 228600"/>
                      <a:gd name="connsiteY1" fmla="*/ 0 h 4533900"/>
                      <a:gd name="connsiteX2" fmla="*/ 228600 w 228600"/>
                      <a:gd name="connsiteY2" fmla="*/ 4533900 h 4533900"/>
                      <a:gd name="connsiteX3" fmla="*/ 0 w 228600"/>
                      <a:gd name="connsiteY3" fmla="*/ 4533900 h 4533900"/>
                      <a:gd name="connsiteX4" fmla="*/ 114300 w 228600"/>
                      <a:gd name="connsiteY4" fmla="*/ 0 h 4533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8600" h="4533900">
                        <a:moveTo>
                          <a:pt x="114300" y="0"/>
                        </a:moveTo>
                        <a:lnTo>
                          <a:pt x="228600" y="0"/>
                        </a:lnTo>
                        <a:lnTo>
                          <a:pt x="228600" y="4533900"/>
                        </a:lnTo>
                        <a:lnTo>
                          <a:pt x="0" y="4533900"/>
                        </a:lnTo>
                        <a:lnTo>
                          <a:pt x="114300" y="0"/>
                        </a:lnTo>
                        <a:close/>
                      </a:path>
                    </a:pathLst>
                  </a:custGeom>
                  <a:solidFill>
                    <a:schemeClr val="accent2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267" name="Block Arc 266">
                  <a:extLst>
                    <a:ext uri="{FF2B5EF4-FFF2-40B4-BE49-F238E27FC236}">
                      <a16:creationId xmlns:a16="http://schemas.microsoft.com/office/drawing/2014/main" id="{ABE1E063-B546-4AE7-B46F-20D26C641997}"/>
                    </a:ext>
                  </a:extLst>
                </p:cNvPr>
                <p:cNvSpPr/>
                <p:nvPr/>
              </p:nvSpPr>
              <p:spPr>
                <a:xfrm rot="16200000">
                  <a:off x="7271658" y="2061029"/>
                  <a:ext cx="1770743" cy="1770743"/>
                </a:xfrm>
                <a:prstGeom prst="blockArc">
                  <a:avLst>
                    <a:gd name="adj1" fmla="val 10800000"/>
                    <a:gd name="adj2" fmla="val 16234411"/>
                    <a:gd name="adj3" fmla="val 9014"/>
                  </a:avLst>
                </a:pr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68" name="Block Arc 267">
                  <a:extLst>
                    <a:ext uri="{FF2B5EF4-FFF2-40B4-BE49-F238E27FC236}">
                      <a16:creationId xmlns:a16="http://schemas.microsoft.com/office/drawing/2014/main" id="{E7828C94-1BDA-4C80-AA15-2CBCA09CC240}"/>
                    </a:ext>
                  </a:extLst>
                </p:cNvPr>
                <p:cNvSpPr/>
                <p:nvPr/>
              </p:nvSpPr>
              <p:spPr>
                <a:xfrm rot="16200000">
                  <a:off x="7300686" y="947964"/>
                  <a:ext cx="1770743" cy="1770743"/>
                </a:xfrm>
                <a:prstGeom prst="blockArc">
                  <a:avLst>
                    <a:gd name="adj1" fmla="val 10800000"/>
                    <a:gd name="adj2" fmla="val 16234411"/>
                    <a:gd name="adj3" fmla="val 9014"/>
                  </a:avLst>
                </a:pr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69" name="Block Arc 268">
                  <a:extLst>
                    <a:ext uri="{FF2B5EF4-FFF2-40B4-BE49-F238E27FC236}">
                      <a16:creationId xmlns:a16="http://schemas.microsoft.com/office/drawing/2014/main" id="{EA5391B2-D253-4872-96D9-9691D299674A}"/>
                    </a:ext>
                  </a:extLst>
                </p:cNvPr>
                <p:cNvSpPr/>
                <p:nvPr/>
              </p:nvSpPr>
              <p:spPr>
                <a:xfrm rot="5400000" flipH="1">
                  <a:off x="7527471" y="2669268"/>
                  <a:ext cx="1770743" cy="1770743"/>
                </a:xfrm>
                <a:prstGeom prst="blockArc">
                  <a:avLst>
                    <a:gd name="adj1" fmla="val 10800000"/>
                    <a:gd name="adj2" fmla="val 16234411"/>
                    <a:gd name="adj3" fmla="val 9014"/>
                  </a:avLst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70" name="Block Arc 269">
                  <a:extLst>
                    <a:ext uri="{FF2B5EF4-FFF2-40B4-BE49-F238E27FC236}">
                      <a16:creationId xmlns:a16="http://schemas.microsoft.com/office/drawing/2014/main" id="{8C691963-C1F3-4418-B0A7-B00CF7E67308}"/>
                    </a:ext>
                  </a:extLst>
                </p:cNvPr>
                <p:cNvSpPr/>
                <p:nvPr/>
              </p:nvSpPr>
              <p:spPr>
                <a:xfrm rot="5400000" flipH="1">
                  <a:off x="7527471" y="1544411"/>
                  <a:ext cx="1770743" cy="1770743"/>
                </a:xfrm>
                <a:prstGeom prst="blockArc">
                  <a:avLst>
                    <a:gd name="adj1" fmla="val 10800000"/>
                    <a:gd name="adj2" fmla="val 16234411"/>
                    <a:gd name="adj3" fmla="val 9014"/>
                  </a:avLst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254" name="Group 253">
                <a:extLst>
                  <a:ext uri="{FF2B5EF4-FFF2-40B4-BE49-F238E27FC236}">
                    <a16:creationId xmlns:a16="http://schemas.microsoft.com/office/drawing/2014/main" id="{54D05766-DEBA-43EE-B57B-529ED2EA4DA5}"/>
                  </a:ext>
                </a:extLst>
              </p:cNvPr>
              <p:cNvGrpSpPr/>
              <p:nvPr/>
            </p:nvGrpSpPr>
            <p:grpSpPr>
              <a:xfrm>
                <a:off x="2820309" y="1647146"/>
                <a:ext cx="1307872" cy="1307872"/>
                <a:chOff x="3193143" y="1833336"/>
                <a:chExt cx="2757714" cy="2757714"/>
              </a:xfrm>
            </p:grpSpPr>
            <p:sp>
              <p:nvSpPr>
                <p:cNvPr id="264" name="Freeform: Shape 263">
                  <a:extLst>
                    <a:ext uri="{FF2B5EF4-FFF2-40B4-BE49-F238E27FC236}">
                      <a16:creationId xmlns:a16="http://schemas.microsoft.com/office/drawing/2014/main" id="{F6BD027A-954B-48F3-B642-925F2448B84E}"/>
                    </a:ext>
                  </a:extLst>
                </p:cNvPr>
                <p:cNvSpPr/>
                <p:nvPr/>
              </p:nvSpPr>
              <p:spPr>
                <a:xfrm>
                  <a:off x="4572000" y="1833336"/>
                  <a:ext cx="1378857" cy="2757714"/>
                </a:xfrm>
                <a:custGeom>
                  <a:avLst/>
                  <a:gdLst>
                    <a:gd name="connsiteX0" fmla="*/ 0 w 1378857"/>
                    <a:gd name="connsiteY0" fmla="*/ 0 h 2757714"/>
                    <a:gd name="connsiteX1" fmla="*/ 1378857 w 1378857"/>
                    <a:gd name="connsiteY1" fmla="*/ 1378857 h 2757714"/>
                    <a:gd name="connsiteX2" fmla="*/ 0 w 1378857"/>
                    <a:gd name="connsiteY2" fmla="*/ 2757714 h 2757714"/>
                    <a:gd name="connsiteX3" fmla="*/ 0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0" y="0"/>
                      </a:moveTo>
                      <a:cubicBezTo>
                        <a:pt x="761522" y="0"/>
                        <a:pt x="1378857" y="617335"/>
                        <a:pt x="1378857" y="1378857"/>
                      </a:cubicBezTo>
                      <a:cubicBezTo>
                        <a:pt x="1378857" y="2140379"/>
                        <a:pt x="761522" y="2757714"/>
                        <a:pt x="0" y="275771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65" name="Freeform: Shape 264">
                  <a:extLst>
                    <a:ext uri="{FF2B5EF4-FFF2-40B4-BE49-F238E27FC236}">
                      <a16:creationId xmlns:a16="http://schemas.microsoft.com/office/drawing/2014/main" id="{FA390538-2B03-4EDE-ABA5-708D871A5E67}"/>
                    </a:ext>
                  </a:extLst>
                </p:cNvPr>
                <p:cNvSpPr/>
                <p:nvPr/>
              </p:nvSpPr>
              <p:spPr>
                <a:xfrm>
                  <a:off x="3193143" y="1833336"/>
                  <a:ext cx="1378857" cy="2757714"/>
                </a:xfrm>
                <a:custGeom>
                  <a:avLst/>
                  <a:gdLst>
                    <a:gd name="connsiteX0" fmla="*/ 1378857 w 1378857"/>
                    <a:gd name="connsiteY0" fmla="*/ 0 h 2757714"/>
                    <a:gd name="connsiteX1" fmla="*/ 1378857 w 1378857"/>
                    <a:gd name="connsiteY1" fmla="*/ 2757714 h 2757714"/>
                    <a:gd name="connsiteX2" fmla="*/ 0 w 1378857"/>
                    <a:gd name="connsiteY2" fmla="*/ 1378857 h 2757714"/>
                    <a:gd name="connsiteX3" fmla="*/ 1378857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1378857" y="0"/>
                      </a:moveTo>
                      <a:lnTo>
                        <a:pt x="1378857" y="2757714"/>
                      </a:lnTo>
                      <a:cubicBezTo>
                        <a:pt x="617335" y="2757714"/>
                        <a:pt x="0" y="2140379"/>
                        <a:pt x="0" y="1378857"/>
                      </a:cubicBezTo>
                      <a:cubicBezTo>
                        <a:pt x="0" y="617335"/>
                        <a:pt x="617335" y="0"/>
                        <a:pt x="1378857" y="0"/>
                      </a:cubicBez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55" name="Group 254">
                <a:extLst>
                  <a:ext uri="{FF2B5EF4-FFF2-40B4-BE49-F238E27FC236}">
                    <a16:creationId xmlns:a16="http://schemas.microsoft.com/office/drawing/2014/main" id="{D8EC58CC-2FAE-4D33-BBDC-2F9AC951B646}"/>
                  </a:ext>
                </a:extLst>
              </p:cNvPr>
              <p:cNvGrpSpPr/>
              <p:nvPr/>
            </p:nvGrpSpPr>
            <p:grpSpPr>
              <a:xfrm>
                <a:off x="3242130" y="674802"/>
                <a:ext cx="1307872" cy="1307872"/>
                <a:chOff x="3193143" y="1833336"/>
                <a:chExt cx="2757714" cy="2757714"/>
              </a:xfrm>
            </p:grpSpPr>
            <p:sp>
              <p:nvSpPr>
                <p:cNvPr id="262" name="Freeform: Shape 261">
                  <a:extLst>
                    <a:ext uri="{FF2B5EF4-FFF2-40B4-BE49-F238E27FC236}">
                      <a16:creationId xmlns:a16="http://schemas.microsoft.com/office/drawing/2014/main" id="{F233CB04-6D85-478E-8853-4BC72815429B}"/>
                    </a:ext>
                  </a:extLst>
                </p:cNvPr>
                <p:cNvSpPr/>
                <p:nvPr/>
              </p:nvSpPr>
              <p:spPr>
                <a:xfrm>
                  <a:off x="4572000" y="1833336"/>
                  <a:ext cx="1378857" cy="2757714"/>
                </a:xfrm>
                <a:custGeom>
                  <a:avLst/>
                  <a:gdLst>
                    <a:gd name="connsiteX0" fmla="*/ 0 w 1378857"/>
                    <a:gd name="connsiteY0" fmla="*/ 0 h 2757714"/>
                    <a:gd name="connsiteX1" fmla="*/ 1378857 w 1378857"/>
                    <a:gd name="connsiteY1" fmla="*/ 1378857 h 2757714"/>
                    <a:gd name="connsiteX2" fmla="*/ 0 w 1378857"/>
                    <a:gd name="connsiteY2" fmla="*/ 2757714 h 2757714"/>
                    <a:gd name="connsiteX3" fmla="*/ 0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0" y="0"/>
                      </a:moveTo>
                      <a:cubicBezTo>
                        <a:pt x="761522" y="0"/>
                        <a:pt x="1378857" y="617335"/>
                        <a:pt x="1378857" y="1378857"/>
                      </a:cubicBezTo>
                      <a:cubicBezTo>
                        <a:pt x="1378857" y="2140379"/>
                        <a:pt x="761522" y="2757714"/>
                        <a:pt x="0" y="275771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63" name="Freeform: Shape 262">
                  <a:extLst>
                    <a:ext uri="{FF2B5EF4-FFF2-40B4-BE49-F238E27FC236}">
                      <a16:creationId xmlns:a16="http://schemas.microsoft.com/office/drawing/2014/main" id="{E22524CF-FE0D-4732-85CC-251061BF51B1}"/>
                    </a:ext>
                  </a:extLst>
                </p:cNvPr>
                <p:cNvSpPr/>
                <p:nvPr/>
              </p:nvSpPr>
              <p:spPr>
                <a:xfrm>
                  <a:off x="3193143" y="1833336"/>
                  <a:ext cx="1378857" cy="2757714"/>
                </a:xfrm>
                <a:custGeom>
                  <a:avLst/>
                  <a:gdLst>
                    <a:gd name="connsiteX0" fmla="*/ 1378857 w 1378857"/>
                    <a:gd name="connsiteY0" fmla="*/ 0 h 2757714"/>
                    <a:gd name="connsiteX1" fmla="*/ 1378857 w 1378857"/>
                    <a:gd name="connsiteY1" fmla="*/ 2757714 h 2757714"/>
                    <a:gd name="connsiteX2" fmla="*/ 0 w 1378857"/>
                    <a:gd name="connsiteY2" fmla="*/ 1378857 h 2757714"/>
                    <a:gd name="connsiteX3" fmla="*/ 1378857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1378857" y="0"/>
                      </a:moveTo>
                      <a:lnTo>
                        <a:pt x="1378857" y="2757714"/>
                      </a:lnTo>
                      <a:cubicBezTo>
                        <a:pt x="617335" y="2757714"/>
                        <a:pt x="0" y="2140379"/>
                        <a:pt x="0" y="1378857"/>
                      </a:cubicBezTo>
                      <a:cubicBezTo>
                        <a:pt x="0" y="617335"/>
                        <a:pt x="617335" y="0"/>
                        <a:pt x="1378857" y="0"/>
                      </a:cubicBez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56" name="Group 255">
                <a:extLst>
                  <a:ext uri="{FF2B5EF4-FFF2-40B4-BE49-F238E27FC236}">
                    <a16:creationId xmlns:a16="http://schemas.microsoft.com/office/drawing/2014/main" id="{F3F7D984-B428-4646-ACC0-9A18BE8DCD0F}"/>
                  </a:ext>
                </a:extLst>
              </p:cNvPr>
              <p:cNvGrpSpPr/>
              <p:nvPr/>
            </p:nvGrpSpPr>
            <p:grpSpPr>
              <a:xfrm>
                <a:off x="4972506" y="2589893"/>
                <a:ext cx="933447" cy="933447"/>
                <a:chOff x="3193143" y="1833336"/>
                <a:chExt cx="2757714" cy="2757714"/>
              </a:xfrm>
            </p:grpSpPr>
            <p:sp>
              <p:nvSpPr>
                <p:cNvPr id="260" name="Freeform: Shape 259">
                  <a:extLst>
                    <a:ext uri="{FF2B5EF4-FFF2-40B4-BE49-F238E27FC236}">
                      <a16:creationId xmlns:a16="http://schemas.microsoft.com/office/drawing/2014/main" id="{F37956F6-E5A2-4D27-AE35-723083FE1BBD}"/>
                    </a:ext>
                  </a:extLst>
                </p:cNvPr>
                <p:cNvSpPr/>
                <p:nvPr/>
              </p:nvSpPr>
              <p:spPr>
                <a:xfrm>
                  <a:off x="4572000" y="1833336"/>
                  <a:ext cx="1378857" cy="2757714"/>
                </a:xfrm>
                <a:custGeom>
                  <a:avLst/>
                  <a:gdLst>
                    <a:gd name="connsiteX0" fmla="*/ 0 w 1378857"/>
                    <a:gd name="connsiteY0" fmla="*/ 0 h 2757714"/>
                    <a:gd name="connsiteX1" fmla="*/ 1378857 w 1378857"/>
                    <a:gd name="connsiteY1" fmla="*/ 1378857 h 2757714"/>
                    <a:gd name="connsiteX2" fmla="*/ 0 w 1378857"/>
                    <a:gd name="connsiteY2" fmla="*/ 2757714 h 2757714"/>
                    <a:gd name="connsiteX3" fmla="*/ 0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0" y="0"/>
                      </a:moveTo>
                      <a:cubicBezTo>
                        <a:pt x="761522" y="0"/>
                        <a:pt x="1378857" y="617335"/>
                        <a:pt x="1378857" y="1378857"/>
                      </a:cubicBezTo>
                      <a:cubicBezTo>
                        <a:pt x="1378857" y="2140379"/>
                        <a:pt x="761522" y="2757714"/>
                        <a:pt x="0" y="275771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61" name="Freeform: Shape 260">
                  <a:extLst>
                    <a:ext uri="{FF2B5EF4-FFF2-40B4-BE49-F238E27FC236}">
                      <a16:creationId xmlns:a16="http://schemas.microsoft.com/office/drawing/2014/main" id="{FBF1D285-1D9B-4BAE-A217-C1F6A761E27E}"/>
                    </a:ext>
                  </a:extLst>
                </p:cNvPr>
                <p:cNvSpPr/>
                <p:nvPr/>
              </p:nvSpPr>
              <p:spPr>
                <a:xfrm>
                  <a:off x="3193143" y="1833336"/>
                  <a:ext cx="1378857" cy="2757714"/>
                </a:xfrm>
                <a:custGeom>
                  <a:avLst/>
                  <a:gdLst>
                    <a:gd name="connsiteX0" fmla="*/ 1378857 w 1378857"/>
                    <a:gd name="connsiteY0" fmla="*/ 0 h 2757714"/>
                    <a:gd name="connsiteX1" fmla="*/ 1378857 w 1378857"/>
                    <a:gd name="connsiteY1" fmla="*/ 2757714 h 2757714"/>
                    <a:gd name="connsiteX2" fmla="*/ 0 w 1378857"/>
                    <a:gd name="connsiteY2" fmla="*/ 1378857 h 2757714"/>
                    <a:gd name="connsiteX3" fmla="*/ 1378857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1378857" y="0"/>
                      </a:moveTo>
                      <a:lnTo>
                        <a:pt x="1378857" y="2757714"/>
                      </a:lnTo>
                      <a:cubicBezTo>
                        <a:pt x="617335" y="2757714"/>
                        <a:pt x="0" y="2140379"/>
                        <a:pt x="0" y="1378857"/>
                      </a:cubicBezTo>
                      <a:cubicBezTo>
                        <a:pt x="0" y="617335"/>
                        <a:pt x="617335" y="0"/>
                        <a:pt x="1378857" y="0"/>
                      </a:cubicBez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57" name="Group 256">
                <a:extLst>
                  <a:ext uri="{FF2B5EF4-FFF2-40B4-BE49-F238E27FC236}">
                    <a16:creationId xmlns:a16="http://schemas.microsoft.com/office/drawing/2014/main" id="{9255280C-1B93-4D35-B238-9B3403704DF0}"/>
                  </a:ext>
                </a:extLst>
              </p:cNvPr>
              <p:cNvGrpSpPr/>
              <p:nvPr/>
            </p:nvGrpSpPr>
            <p:grpSpPr>
              <a:xfrm>
                <a:off x="4194006" y="378736"/>
                <a:ext cx="2280867" cy="2280867"/>
                <a:chOff x="3193144" y="1833336"/>
                <a:chExt cx="2757714" cy="2757714"/>
              </a:xfrm>
            </p:grpSpPr>
            <p:sp>
              <p:nvSpPr>
                <p:cNvPr id="258" name="Freeform: Shape 257">
                  <a:extLst>
                    <a:ext uri="{FF2B5EF4-FFF2-40B4-BE49-F238E27FC236}">
                      <a16:creationId xmlns:a16="http://schemas.microsoft.com/office/drawing/2014/main" id="{7E46F837-7829-41BE-81AA-4B4577DEAE46}"/>
                    </a:ext>
                  </a:extLst>
                </p:cNvPr>
                <p:cNvSpPr/>
                <p:nvPr/>
              </p:nvSpPr>
              <p:spPr>
                <a:xfrm>
                  <a:off x="4572001" y="1833336"/>
                  <a:ext cx="1378857" cy="2757714"/>
                </a:xfrm>
                <a:custGeom>
                  <a:avLst/>
                  <a:gdLst>
                    <a:gd name="connsiteX0" fmla="*/ 0 w 1378857"/>
                    <a:gd name="connsiteY0" fmla="*/ 0 h 2757714"/>
                    <a:gd name="connsiteX1" fmla="*/ 1378857 w 1378857"/>
                    <a:gd name="connsiteY1" fmla="*/ 1378857 h 2757714"/>
                    <a:gd name="connsiteX2" fmla="*/ 0 w 1378857"/>
                    <a:gd name="connsiteY2" fmla="*/ 2757714 h 2757714"/>
                    <a:gd name="connsiteX3" fmla="*/ 0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0" y="0"/>
                      </a:moveTo>
                      <a:cubicBezTo>
                        <a:pt x="761522" y="0"/>
                        <a:pt x="1378857" y="617335"/>
                        <a:pt x="1378857" y="1378857"/>
                      </a:cubicBezTo>
                      <a:cubicBezTo>
                        <a:pt x="1378857" y="2140379"/>
                        <a:pt x="761522" y="2757714"/>
                        <a:pt x="0" y="275771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59" name="Freeform: Shape 258">
                  <a:extLst>
                    <a:ext uri="{FF2B5EF4-FFF2-40B4-BE49-F238E27FC236}">
                      <a16:creationId xmlns:a16="http://schemas.microsoft.com/office/drawing/2014/main" id="{619EBB87-FAFB-4479-9156-74CE442A5E1C}"/>
                    </a:ext>
                  </a:extLst>
                </p:cNvPr>
                <p:cNvSpPr/>
                <p:nvPr/>
              </p:nvSpPr>
              <p:spPr>
                <a:xfrm>
                  <a:off x="3193144" y="1833336"/>
                  <a:ext cx="1378857" cy="2757714"/>
                </a:xfrm>
                <a:custGeom>
                  <a:avLst/>
                  <a:gdLst>
                    <a:gd name="connsiteX0" fmla="*/ 1378857 w 1378857"/>
                    <a:gd name="connsiteY0" fmla="*/ 0 h 2757714"/>
                    <a:gd name="connsiteX1" fmla="*/ 1378857 w 1378857"/>
                    <a:gd name="connsiteY1" fmla="*/ 2757714 h 2757714"/>
                    <a:gd name="connsiteX2" fmla="*/ 0 w 1378857"/>
                    <a:gd name="connsiteY2" fmla="*/ 1378857 h 2757714"/>
                    <a:gd name="connsiteX3" fmla="*/ 1378857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1378857" y="0"/>
                      </a:moveTo>
                      <a:lnTo>
                        <a:pt x="1378857" y="2757714"/>
                      </a:lnTo>
                      <a:cubicBezTo>
                        <a:pt x="617335" y="2757714"/>
                        <a:pt x="0" y="2140379"/>
                        <a:pt x="0" y="1378857"/>
                      </a:cubicBezTo>
                      <a:cubicBezTo>
                        <a:pt x="0" y="617335"/>
                        <a:pt x="617335" y="0"/>
                        <a:pt x="1378857" y="0"/>
                      </a:cubicBez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  <p:grpSp>
        <p:nvGrpSpPr>
          <p:cNvPr id="273" name="Group 272">
            <a:extLst>
              <a:ext uri="{FF2B5EF4-FFF2-40B4-BE49-F238E27FC236}">
                <a16:creationId xmlns:a16="http://schemas.microsoft.com/office/drawing/2014/main" id="{89C17D82-DE3D-45A3-9F59-643629D7CC4D}"/>
              </a:ext>
            </a:extLst>
          </p:cNvPr>
          <p:cNvGrpSpPr/>
          <p:nvPr/>
        </p:nvGrpSpPr>
        <p:grpSpPr>
          <a:xfrm>
            <a:off x="5516285" y="5993350"/>
            <a:ext cx="894016" cy="567517"/>
            <a:chOff x="5039917" y="4959547"/>
            <a:chExt cx="751283" cy="476911"/>
          </a:xfrm>
        </p:grpSpPr>
        <p:sp>
          <p:nvSpPr>
            <p:cNvPr id="274" name="Oval 273">
              <a:extLst>
                <a:ext uri="{FF2B5EF4-FFF2-40B4-BE49-F238E27FC236}">
                  <a16:creationId xmlns:a16="http://schemas.microsoft.com/office/drawing/2014/main" id="{EEE9C2D8-2EE3-48D9-8696-0CB8F94DD66C}"/>
                </a:ext>
              </a:extLst>
            </p:cNvPr>
            <p:cNvSpPr/>
            <p:nvPr/>
          </p:nvSpPr>
          <p:spPr>
            <a:xfrm>
              <a:off x="5066985" y="5276924"/>
              <a:ext cx="724215" cy="159534"/>
            </a:xfrm>
            <a:prstGeom prst="ellipse">
              <a:avLst/>
            </a:prstGeom>
            <a:solidFill>
              <a:schemeClr val="tx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75" name="Group 274">
              <a:extLst>
                <a:ext uri="{FF2B5EF4-FFF2-40B4-BE49-F238E27FC236}">
                  <a16:creationId xmlns:a16="http://schemas.microsoft.com/office/drawing/2014/main" id="{660F78BC-C744-46AE-94C9-2706B4A3C1E1}"/>
                </a:ext>
              </a:extLst>
            </p:cNvPr>
            <p:cNvGrpSpPr/>
            <p:nvPr/>
          </p:nvGrpSpPr>
          <p:grpSpPr>
            <a:xfrm>
              <a:off x="5039917" y="4959547"/>
              <a:ext cx="650631" cy="432841"/>
              <a:chOff x="5039917" y="4959547"/>
              <a:chExt cx="650631" cy="432841"/>
            </a:xfrm>
          </p:grpSpPr>
          <p:sp>
            <p:nvSpPr>
              <p:cNvPr id="276" name="Freeform: Shape 275">
                <a:extLst>
                  <a:ext uri="{FF2B5EF4-FFF2-40B4-BE49-F238E27FC236}">
                    <a16:creationId xmlns:a16="http://schemas.microsoft.com/office/drawing/2014/main" id="{856E85AF-788F-4099-88E2-A999BB9D3DBA}"/>
                  </a:ext>
                </a:extLst>
              </p:cNvPr>
              <p:cNvSpPr/>
              <p:nvPr/>
            </p:nvSpPr>
            <p:spPr>
              <a:xfrm>
                <a:off x="5039917" y="4959547"/>
                <a:ext cx="650631" cy="290048"/>
              </a:xfrm>
              <a:custGeom>
                <a:avLst/>
                <a:gdLst>
                  <a:gd name="connsiteX0" fmla="*/ 409255 w 650631"/>
                  <a:gd name="connsiteY0" fmla="*/ 0 h 290048"/>
                  <a:gd name="connsiteX1" fmla="*/ 418065 w 650631"/>
                  <a:gd name="connsiteY1" fmla="*/ 815 h 290048"/>
                  <a:gd name="connsiteX2" fmla="*/ 435414 w 650631"/>
                  <a:gd name="connsiteY2" fmla="*/ 3531 h 290048"/>
                  <a:gd name="connsiteX3" fmla="*/ 448968 w 650631"/>
                  <a:gd name="connsiteY3" fmla="*/ 5704 h 290048"/>
                  <a:gd name="connsiteX4" fmla="*/ 467401 w 650631"/>
                  <a:gd name="connsiteY4" fmla="*/ 4618 h 290048"/>
                  <a:gd name="connsiteX5" fmla="*/ 487461 w 650631"/>
                  <a:gd name="connsiteY5" fmla="*/ 6791 h 290048"/>
                  <a:gd name="connsiteX6" fmla="*/ 549266 w 650631"/>
                  <a:gd name="connsiteY6" fmla="*/ 1358 h 290048"/>
                  <a:gd name="connsiteX7" fmla="*/ 607276 w 650631"/>
                  <a:gd name="connsiteY7" fmla="*/ 4074 h 290048"/>
                  <a:gd name="connsiteX8" fmla="*/ 649022 w 650631"/>
                  <a:gd name="connsiteY8" fmla="*/ 37214 h 290048"/>
                  <a:gd name="connsiteX9" fmla="*/ 646853 w 650631"/>
                  <a:gd name="connsiteY9" fmla="*/ 81219 h 290048"/>
                  <a:gd name="connsiteX10" fmla="*/ 641974 w 650631"/>
                  <a:gd name="connsiteY10" fmla="*/ 101320 h 290048"/>
                  <a:gd name="connsiteX11" fmla="*/ 636552 w 650631"/>
                  <a:gd name="connsiteY11" fmla="*/ 119791 h 290048"/>
                  <a:gd name="connsiteX12" fmla="*/ 630047 w 650631"/>
                  <a:gd name="connsiteY12" fmla="*/ 159450 h 290048"/>
                  <a:gd name="connsiteX13" fmla="*/ 630589 w 650631"/>
                  <a:gd name="connsiteY13" fmla="*/ 182810 h 290048"/>
                  <a:gd name="connsiteX14" fmla="*/ 638823 w 650631"/>
                  <a:gd name="connsiteY14" fmla="*/ 216272 h 290048"/>
                  <a:gd name="connsiteX15" fmla="*/ 639944 w 650631"/>
                  <a:gd name="connsiteY15" fmla="*/ 225701 h 290048"/>
                  <a:gd name="connsiteX16" fmla="*/ 637858 w 650631"/>
                  <a:gd name="connsiteY16" fmla="*/ 227616 h 290048"/>
                  <a:gd name="connsiteX17" fmla="*/ 622696 w 650631"/>
                  <a:gd name="connsiteY17" fmla="*/ 238722 h 290048"/>
                  <a:gd name="connsiteX18" fmla="*/ 567927 w 650631"/>
                  <a:gd name="connsiteY18" fmla="*/ 257772 h 290048"/>
                  <a:gd name="connsiteX19" fmla="*/ 556021 w 650631"/>
                  <a:gd name="connsiteY19" fmla="*/ 265065 h 290048"/>
                  <a:gd name="connsiteX20" fmla="*/ 551077 w 650631"/>
                  <a:gd name="connsiteY20" fmla="*/ 271554 h 290048"/>
                  <a:gd name="connsiteX21" fmla="*/ 549266 w 650631"/>
                  <a:gd name="connsiteY21" fmla="*/ 267017 h 290048"/>
                  <a:gd name="connsiteX22" fmla="*/ 527038 w 650631"/>
                  <a:gd name="connsiteY22" fmla="*/ 288748 h 290048"/>
                  <a:gd name="connsiteX23" fmla="*/ 529206 w 650631"/>
                  <a:gd name="connsiteY23" fmla="*/ 289291 h 290048"/>
                  <a:gd name="connsiteX24" fmla="*/ 522701 w 650631"/>
                  <a:gd name="connsiteY24" fmla="*/ 288748 h 290048"/>
                  <a:gd name="connsiteX25" fmla="*/ 521616 w 650631"/>
                  <a:gd name="connsiteY25" fmla="*/ 278969 h 290048"/>
                  <a:gd name="connsiteX26" fmla="*/ 518363 w 650631"/>
                  <a:gd name="connsiteY26" fmla="*/ 275709 h 290048"/>
                  <a:gd name="connsiteX27" fmla="*/ 512942 w 650631"/>
                  <a:gd name="connsiteY27" fmla="*/ 255608 h 290048"/>
                  <a:gd name="connsiteX28" fmla="*/ 498304 w 650631"/>
                  <a:gd name="connsiteY28" fmla="*/ 233878 h 290048"/>
                  <a:gd name="connsiteX29" fmla="*/ 480955 w 650631"/>
                  <a:gd name="connsiteY29" fmla="*/ 244743 h 290048"/>
                  <a:gd name="connsiteX30" fmla="*/ 478786 w 650631"/>
                  <a:gd name="connsiteY30" fmla="*/ 246916 h 290048"/>
                  <a:gd name="connsiteX31" fmla="*/ 478786 w 650631"/>
                  <a:gd name="connsiteY31" fmla="*/ 244743 h 290048"/>
                  <a:gd name="connsiteX32" fmla="*/ 451679 w 650631"/>
                  <a:gd name="connsiteY32" fmla="*/ 256152 h 290048"/>
                  <a:gd name="connsiteX33" fmla="*/ 387163 w 650631"/>
                  <a:gd name="connsiteY33" fmla="*/ 262128 h 290048"/>
                  <a:gd name="connsiteX34" fmla="*/ 364934 w 650631"/>
                  <a:gd name="connsiteY34" fmla="*/ 257781 h 290048"/>
                  <a:gd name="connsiteX35" fmla="*/ 360055 w 650631"/>
                  <a:gd name="connsiteY35" fmla="*/ 256695 h 290048"/>
                  <a:gd name="connsiteX36" fmla="*/ 343791 w 650631"/>
                  <a:gd name="connsiteY36" fmla="*/ 253979 h 290048"/>
                  <a:gd name="connsiteX37" fmla="*/ 310719 w 650631"/>
                  <a:gd name="connsiteY37" fmla="*/ 246373 h 290048"/>
                  <a:gd name="connsiteX38" fmla="*/ 294455 w 650631"/>
                  <a:gd name="connsiteY38" fmla="*/ 242027 h 290048"/>
                  <a:gd name="connsiteX39" fmla="*/ 294896 w 650631"/>
                  <a:gd name="connsiteY39" fmla="*/ 245277 h 290048"/>
                  <a:gd name="connsiteX40" fmla="*/ 291702 w 650631"/>
                  <a:gd name="connsiteY40" fmla="*/ 243484 h 290048"/>
                  <a:gd name="connsiteX41" fmla="*/ 267889 w 650631"/>
                  <a:gd name="connsiteY41" fmla="*/ 238722 h 290048"/>
                  <a:gd name="connsiteX42" fmla="*/ 244077 w 650631"/>
                  <a:gd name="connsiteY42" fmla="*/ 243484 h 290048"/>
                  <a:gd name="connsiteX43" fmla="*/ 220264 w 650631"/>
                  <a:gd name="connsiteY43" fmla="*/ 260153 h 290048"/>
                  <a:gd name="connsiteX44" fmla="*/ 205456 w 650631"/>
                  <a:gd name="connsiteY44" fmla="*/ 265436 h 290048"/>
                  <a:gd name="connsiteX45" fmla="*/ 200557 w 650631"/>
                  <a:gd name="connsiteY45" fmla="*/ 266772 h 290048"/>
                  <a:gd name="connsiteX46" fmla="*/ 188439 w 650631"/>
                  <a:gd name="connsiteY46" fmla="*/ 264675 h 290048"/>
                  <a:gd name="connsiteX47" fmla="*/ 164881 w 650631"/>
                  <a:gd name="connsiteY47" fmla="*/ 239310 h 290048"/>
                  <a:gd name="connsiteX48" fmla="*/ 157290 w 650631"/>
                  <a:gd name="connsiteY48" fmla="*/ 233334 h 290048"/>
                  <a:gd name="connsiteX49" fmla="*/ 143194 w 650631"/>
                  <a:gd name="connsiteY49" fmla="*/ 215950 h 290048"/>
                  <a:gd name="connsiteX50" fmla="*/ 116629 w 650631"/>
                  <a:gd name="connsiteY50" fmla="*/ 215950 h 290048"/>
                  <a:gd name="connsiteX51" fmla="*/ 101449 w 650631"/>
                  <a:gd name="connsiteY51" fmla="*/ 231161 h 290048"/>
                  <a:gd name="connsiteX52" fmla="*/ 91556 w 650631"/>
                  <a:gd name="connsiteY52" fmla="*/ 236386 h 290048"/>
                  <a:gd name="connsiteX53" fmla="*/ 86766 w 650631"/>
                  <a:gd name="connsiteY53" fmla="*/ 222797 h 290048"/>
                  <a:gd name="connsiteX54" fmla="*/ 70246 w 650631"/>
                  <a:gd name="connsiteY54" fmla="*/ 207766 h 290048"/>
                  <a:gd name="connsiteX55" fmla="*/ 52982 w 650631"/>
                  <a:gd name="connsiteY55" fmla="*/ 203004 h 290048"/>
                  <a:gd name="connsiteX56" fmla="*/ 29006 w 650631"/>
                  <a:gd name="connsiteY56" fmla="*/ 207464 h 290048"/>
                  <a:gd name="connsiteX57" fmla="*/ 29546 w 650631"/>
                  <a:gd name="connsiteY57" fmla="*/ 202504 h 290048"/>
                  <a:gd name="connsiteX58" fmla="*/ 36933 w 650631"/>
                  <a:gd name="connsiteY58" fmla="*/ 194762 h 290048"/>
                  <a:gd name="connsiteX59" fmla="*/ 47776 w 650631"/>
                  <a:gd name="connsiteY59" fmla="*/ 182267 h 290048"/>
                  <a:gd name="connsiteX60" fmla="*/ 53197 w 650631"/>
                  <a:gd name="connsiteY60" fmla="*/ 155103 h 290048"/>
                  <a:gd name="connsiteX61" fmla="*/ 51571 w 650631"/>
                  <a:gd name="connsiteY61" fmla="*/ 145325 h 290048"/>
                  <a:gd name="connsiteX62" fmla="*/ 45607 w 650631"/>
                  <a:gd name="connsiteY62" fmla="*/ 126853 h 290048"/>
                  <a:gd name="connsiteX63" fmla="*/ 40728 w 650631"/>
                  <a:gd name="connsiteY63" fmla="*/ 121964 h 290048"/>
                  <a:gd name="connsiteX64" fmla="*/ 21210 w 650631"/>
                  <a:gd name="connsiteY64" fmla="*/ 118704 h 290048"/>
                  <a:gd name="connsiteX65" fmla="*/ 16331 w 650631"/>
                  <a:gd name="connsiteY65" fmla="*/ 113815 h 290048"/>
                  <a:gd name="connsiteX66" fmla="*/ 1151 w 650631"/>
                  <a:gd name="connsiteY66" fmla="*/ 82849 h 290048"/>
                  <a:gd name="connsiteX67" fmla="*/ 33138 w 650631"/>
                  <a:gd name="connsiteY67" fmla="*/ 77416 h 290048"/>
                  <a:gd name="connsiteX68" fmla="*/ 62956 w 650631"/>
                  <a:gd name="connsiteY68" fmla="*/ 90454 h 290048"/>
                  <a:gd name="connsiteX69" fmla="*/ 42896 w 650631"/>
                  <a:gd name="connsiteY69" fmla="*/ 68180 h 290048"/>
                  <a:gd name="connsiteX70" fmla="*/ 37475 w 650631"/>
                  <a:gd name="connsiteY70" fmla="*/ 62748 h 290048"/>
                  <a:gd name="connsiteX71" fmla="*/ 32053 w 650631"/>
                  <a:gd name="connsiteY71" fmla="*/ 28522 h 290048"/>
                  <a:gd name="connsiteX72" fmla="*/ 36933 w 650631"/>
                  <a:gd name="connsiteY72" fmla="*/ 28522 h 290048"/>
                  <a:gd name="connsiteX73" fmla="*/ 38017 w 650631"/>
                  <a:gd name="connsiteY73" fmla="*/ 34498 h 290048"/>
                  <a:gd name="connsiteX74" fmla="*/ 48860 w 650631"/>
                  <a:gd name="connsiteY74" fmla="*/ 49709 h 290048"/>
                  <a:gd name="connsiteX75" fmla="*/ 75968 w 650631"/>
                  <a:gd name="connsiteY75" fmla="*/ 63291 h 290048"/>
                  <a:gd name="connsiteX76" fmla="*/ 110123 w 650631"/>
                  <a:gd name="connsiteY76" fmla="*/ 56772 h 290048"/>
                  <a:gd name="connsiteX77" fmla="*/ 117171 w 650631"/>
                  <a:gd name="connsiteY77" fmla="*/ 58945 h 290048"/>
                  <a:gd name="connsiteX78" fmla="*/ 125846 w 650631"/>
                  <a:gd name="connsiteY78" fmla="*/ 63834 h 290048"/>
                  <a:gd name="connsiteX79" fmla="*/ 139399 w 650631"/>
                  <a:gd name="connsiteY79" fmla="*/ 57315 h 290048"/>
                  <a:gd name="connsiteX80" fmla="*/ 149158 w 650631"/>
                  <a:gd name="connsiteY80" fmla="*/ 50796 h 290048"/>
                  <a:gd name="connsiteX81" fmla="*/ 158375 w 650631"/>
                  <a:gd name="connsiteY81" fmla="*/ 38844 h 290048"/>
                  <a:gd name="connsiteX82" fmla="*/ 180061 w 650631"/>
                  <a:gd name="connsiteY82" fmla="*/ 27435 h 290048"/>
                  <a:gd name="connsiteX83" fmla="*/ 203373 w 650631"/>
                  <a:gd name="connsiteY83" fmla="*/ 13310 h 290048"/>
                  <a:gd name="connsiteX84" fmla="*/ 220722 w 650631"/>
                  <a:gd name="connsiteY84" fmla="*/ 10594 h 290048"/>
                  <a:gd name="connsiteX85" fmla="*/ 240782 w 650631"/>
                  <a:gd name="connsiteY85" fmla="*/ 14397 h 290048"/>
                  <a:gd name="connsiteX86" fmla="*/ 324273 w 650631"/>
                  <a:gd name="connsiteY86" fmla="*/ 7877 h 290048"/>
                  <a:gd name="connsiteX87" fmla="*/ 344875 w 650631"/>
                  <a:gd name="connsiteY87" fmla="*/ 3531 h 290048"/>
                  <a:gd name="connsiteX88" fmla="*/ 360055 w 650631"/>
                  <a:gd name="connsiteY88" fmla="*/ 2988 h 290048"/>
                  <a:gd name="connsiteX89" fmla="*/ 379030 w 650631"/>
                  <a:gd name="connsiteY89" fmla="*/ 1901 h 290048"/>
                  <a:gd name="connsiteX90" fmla="*/ 399632 w 650631"/>
                  <a:gd name="connsiteY90" fmla="*/ 815 h 290048"/>
                  <a:gd name="connsiteX91" fmla="*/ 409255 w 650631"/>
                  <a:gd name="connsiteY91" fmla="*/ 0 h 290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</a:cxnLst>
                <a:rect l="l" t="t" r="r" b="b"/>
                <a:pathLst>
                  <a:path w="650631" h="290048">
                    <a:moveTo>
                      <a:pt x="409255" y="0"/>
                    </a:moveTo>
                    <a:cubicBezTo>
                      <a:pt x="411831" y="0"/>
                      <a:pt x="414270" y="272"/>
                      <a:pt x="418065" y="815"/>
                    </a:cubicBezTo>
                    <a:cubicBezTo>
                      <a:pt x="422403" y="815"/>
                      <a:pt x="432161" y="4618"/>
                      <a:pt x="435414" y="3531"/>
                    </a:cubicBezTo>
                    <a:cubicBezTo>
                      <a:pt x="443546" y="2988"/>
                      <a:pt x="441378" y="4618"/>
                      <a:pt x="448968" y="5704"/>
                    </a:cubicBezTo>
                    <a:cubicBezTo>
                      <a:pt x="455474" y="5704"/>
                      <a:pt x="458727" y="3531"/>
                      <a:pt x="467401" y="4618"/>
                    </a:cubicBezTo>
                    <a:cubicBezTo>
                      <a:pt x="473907" y="5704"/>
                      <a:pt x="480955" y="5704"/>
                      <a:pt x="487461" y="6791"/>
                    </a:cubicBezTo>
                    <a:cubicBezTo>
                      <a:pt x="515653" y="11680"/>
                      <a:pt x="534628" y="272"/>
                      <a:pt x="549266" y="1358"/>
                    </a:cubicBezTo>
                    <a:cubicBezTo>
                      <a:pt x="561193" y="2445"/>
                      <a:pt x="599686" y="2445"/>
                      <a:pt x="607276" y="4074"/>
                    </a:cubicBezTo>
                    <a:cubicBezTo>
                      <a:pt x="624083" y="9507"/>
                      <a:pt x="642516" y="12223"/>
                      <a:pt x="649022" y="37214"/>
                    </a:cubicBezTo>
                    <a:cubicBezTo>
                      <a:pt x="652275" y="46993"/>
                      <a:pt x="650106" y="71440"/>
                      <a:pt x="646853" y="81219"/>
                    </a:cubicBezTo>
                    <a:cubicBezTo>
                      <a:pt x="645227" y="87738"/>
                      <a:pt x="644142" y="94800"/>
                      <a:pt x="641974" y="101320"/>
                    </a:cubicBezTo>
                    <a:cubicBezTo>
                      <a:pt x="639263" y="110012"/>
                      <a:pt x="637637" y="109469"/>
                      <a:pt x="636552" y="119791"/>
                    </a:cubicBezTo>
                    <a:cubicBezTo>
                      <a:pt x="635468" y="128483"/>
                      <a:pt x="628962" y="154017"/>
                      <a:pt x="630047" y="159450"/>
                    </a:cubicBezTo>
                    <a:cubicBezTo>
                      <a:pt x="630047" y="168142"/>
                      <a:pt x="630589" y="173575"/>
                      <a:pt x="630589" y="182810"/>
                    </a:cubicBezTo>
                    <a:cubicBezTo>
                      <a:pt x="630589" y="188922"/>
                      <a:pt x="635468" y="197784"/>
                      <a:pt x="638823" y="216272"/>
                    </a:cubicBezTo>
                    <a:lnTo>
                      <a:pt x="639944" y="225701"/>
                    </a:lnTo>
                    <a:lnTo>
                      <a:pt x="637858" y="227616"/>
                    </a:lnTo>
                    <a:cubicBezTo>
                      <a:pt x="632593" y="232323"/>
                      <a:pt x="627459" y="236440"/>
                      <a:pt x="622696" y="238722"/>
                    </a:cubicBezTo>
                    <a:cubicBezTo>
                      <a:pt x="603646" y="247850"/>
                      <a:pt x="580230" y="251819"/>
                      <a:pt x="567927" y="257772"/>
                    </a:cubicBezTo>
                    <a:cubicBezTo>
                      <a:pt x="561776" y="260749"/>
                      <a:pt x="558501" y="262733"/>
                      <a:pt x="556021" y="265065"/>
                    </a:cubicBezTo>
                    <a:lnTo>
                      <a:pt x="551077" y="271554"/>
                    </a:lnTo>
                    <a:lnTo>
                      <a:pt x="549266" y="267017"/>
                    </a:lnTo>
                    <a:cubicBezTo>
                      <a:pt x="537881" y="267017"/>
                      <a:pt x="532459" y="280056"/>
                      <a:pt x="527038" y="288748"/>
                    </a:cubicBezTo>
                    <a:lnTo>
                      <a:pt x="529206" y="289291"/>
                    </a:lnTo>
                    <a:cubicBezTo>
                      <a:pt x="527580" y="290378"/>
                      <a:pt x="525411" y="290378"/>
                      <a:pt x="522701" y="288748"/>
                    </a:cubicBezTo>
                    <a:cubicBezTo>
                      <a:pt x="521616" y="286575"/>
                      <a:pt x="521616" y="281685"/>
                      <a:pt x="521616" y="278969"/>
                    </a:cubicBezTo>
                    <a:cubicBezTo>
                      <a:pt x="518363" y="272450"/>
                      <a:pt x="520532" y="280599"/>
                      <a:pt x="518363" y="275709"/>
                    </a:cubicBezTo>
                    <a:cubicBezTo>
                      <a:pt x="515110" y="270277"/>
                      <a:pt x="520532" y="264844"/>
                      <a:pt x="512942" y="255608"/>
                    </a:cubicBezTo>
                    <a:cubicBezTo>
                      <a:pt x="508605" y="248546"/>
                      <a:pt x="500472" y="240397"/>
                      <a:pt x="498304" y="233878"/>
                    </a:cubicBezTo>
                    <a:lnTo>
                      <a:pt x="480955" y="244743"/>
                    </a:lnTo>
                    <a:cubicBezTo>
                      <a:pt x="480955" y="244743"/>
                      <a:pt x="482039" y="246916"/>
                      <a:pt x="478786" y="246916"/>
                    </a:cubicBezTo>
                    <a:cubicBezTo>
                      <a:pt x="477702" y="246916"/>
                      <a:pt x="478786" y="245830"/>
                      <a:pt x="478786" y="244743"/>
                    </a:cubicBezTo>
                    <a:cubicBezTo>
                      <a:pt x="470112" y="249632"/>
                      <a:pt x="461437" y="253435"/>
                      <a:pt x="451679" y="256152"/>
                    </a:cubicBezTo>
                    <a:cubicBezTo>
                      <a:pt x="424029" y="264301"/>
                      <a:pt x="415355" y="263214"/>
                      <a:pt x="387163" y="262128"/>
                    </a:cubicBezTo>
                    <a:cubicBezTo>
                      <a:pt x="381199" y="261041"/>
                      <a:pt x="371440" y="258868"/>
                      <a:pt x="364934" y="257781"/>
                    </a:cubicBezTo>
                    <a:cubicBezTo>
                      <a:pt x="358971" y="257781"/>
                      <a:pt x="361139" y="259955"/>
                      <a:pt x="360055" y="256695"/>
                    </a:cubicBezTo>
                    <a:cubicBezTo>
                      <a:pt x="353549" y="256695"/>
                      <a:pt x="350296" y="255065"/>
                      <a:pt x="343791" y="253979"/>
                    </a:cubicBezTo>
                    <a:lnTo>
                      <a:pt x="310719" y="246373"/>
                    </a:lnTo>
                    <a:cubicBezTo>
                      <a:pt x="304756" y="244200"/>
                      <a:pt x="299876" y="243113"/>
                      <a:pt x="294455" y="242027"/>
                    </a:cubicBezTo>
                    <a:lnTo>
                      <a:pt x="294896" y="245277"/>
                    </a:lnTo>
                    <a:lnTo>
                      <a:pt x="291702" y="243484"/>
                    </a:lnTo>
                    <a:cubicBezTo>
                      <a:pt x="280590" y="239118"/>
                      <a:pt x="275826" y="238722"/>
                      <a:pt x="267889" y="238722"/>
                    </a:cubicBezTo>
                    <a:cubicBezTo>
                      <a:pt x="259952" y="238722"/>
                      <a:pt x="252014" y="239912"/>
                      <a:pt x="244077" y="243484"/>
                    </a:cubicBezTo>
                    <a:cubicBezTo>
                      <a:pt x="236140" y="247056"/>
                      <a:pt x="235742" y="251025"/>
                      <a:pt x="220264" y="260153"/>
                    </a:cubicBezTo>
                    <a:cubicBezTo>
                      <a:pt x="216395" y="262435"/>
                      <a:pt x="211260" y="263948"/>
                      <a:pt x="205456" y="265436"/>
                    </a:cubicBezTo>
                    <a:lnTo>
                      <a:pt x="200557" y="266772"/>
                    </a:lnTo>
                    <a:lnTo>
                      <a:pt x="188439" y="264675"/>
                    </a:lnTo>
                    <a:cubicBezTo>
                      <a:pt x="174640" y="258359"/>
                      <a:pt x="175860" y="245015"/>
                      <a:pt x="164881" y="239310"/>
                    </a:cubicBezTo>
                    <a:cubicBezTo>
                      <a:pt x="162170" y="238767"/>
                      <a:pt x="158375" y="237681"/>
                      <a:pt x="157290" y="233334"/>
                    </a:cubicBezTo>
                    <a:cubicBezTo>
                      <a:pt x="151869" y="221382"/>
                      <a:pt x="149158" y="225729"/>
                      <a:pt x="143194" y="215950"/>
                    </a:cubicBezTo>
                    <a:cubicBezTo>
                      <a:pt x="131809" y="198022"/>
                      <a:pt x="125303" y="211060"/>
                      <a:pt x="116629" y="215950"/>
                    </a:cubicBezTo>
                    <a:lnTo>
                      <a:pt x="101449" y="231161"/>
                    </a:lnTo>
                    <a:lnTo>
                      <a:pt x="91556" y="236386"/>
                    </a:lnTo>
                    <a:lnTo>
                      <a:pt x="86766" y="222797"/>
                    </a:lnTo>
                    <a:cubicBezTo>
                      <a:pt x="82053" y="216299"/>
                      <a:pt x="75802" y="210743"/>
                      <a:pt x="70246" y="207766"/>
                    </a:cubicBezTo>
                    <a:cubicBezTo>
                      <a:pt x="64690" y="204790"/>
                      <a:pt x="59531" y="203103"/>
                      <a:pt x="52982" y="203004"/>
                    </a:cubicBezTo>
                    <a:lnTo>
                      <a:pt x="29006" y="207464"/>
                    </a:lnTo>
                    <a:lnTo>
                      <a:pt x="29546" y="202504"/>
                    </a:lnTo>
                    <a:cubicBezTo>
                      <a:pt x="30834" y="199923"/>
                      <a:pt x="33138" y="198022"/>
                      <a:pt x="36933" y="194762"/>
                    </a:cubicBezTo>
                    <a:cubicBezTo>
                      <a:pt x="42354" y="190959"/>
                      <a:pt x="44523" y="187156"/>
                      <a:pt x="47776" y="182267"/>
                    </a:cubicBezTo>
                    <a:cubicBezTo>
                      <a:pt x="53197" y="167599"/>
                      <a:pt x="51571" y="168685"/>
                      <a:pt x="53197" y="155103"/>
                    </a:cubicBezTo>
                    <a:cubicBezTo>
                      <a:pt x="54282" y="147498"/>
                      <a:pt x="53197" y="150214"/>
                      <a:pt x="51571" y="145325"/>
                    </a:cubicBezTo>
                    <a:cubicBezTo>
                      <a:pt x="48318" y="140978"/>
                      <a:pt x="51571" y="129027"/>
                      <a:pt x="45607" y="126853"/>
                    </a:cubicBezTo>
                    <a:cubicBezTo>
                      <a:pt x="40728" y="125224"/>
                      <a:pt x="44523" y="125767"/>
                      <a:pt x="40728" y="121964"/>
                    </a:cubicBezTo>
                    <a:cubicBezTo>
                      <a:pt x="32053" y="120877"/>
                      <a:pt x="32053" y="125767"/>
                      <a:pt x="21210" y="118704"/>
                    </a:cubicBezTo>
                    <a:cubicBezTo>
                      <a:pt x="15247" y="113815"/>
                      <a:pt x="21210" y="122507"/>
                      <a:pt x="16331" y="113815"/>
                    </a:cubicBezTo>
                    <a:cubicBezTo>
                      <a:pt x="10909" y="104579"/>
                      <a:pt x="-4271" y="96974"/>
                      <a:pt x="1151" y="82849"/>
                    </a:cubicBezTo>
                    <a:cubicBezTo>
                      <a:pt x="3862" y="77416"/>
                      <a:pt x="22295" y="71983"/>
                      <a:pt x="33138" y="77416"/>
                    </a:cubicBezTo>
                    <a:cubicBezTo>
                      <a:pt x="38559" y="80675"/>
                      <a:pt x="57535" y="92627"/>
                      <a:pt x="62956" y="90454"/>
                    </a:cubicBezTo>
                    <a:cubicBezTo>
                      <a:pt x="74883" y="85022"/>
                      <a:pt x="46691" y="67094"/>
                      <a:pt x="42896" y="68180"/>
                    </a:cubicBezTo>
                    <a:cubicBezTo>
                      <a:pt x="39644" y="68724"/>
                      <a:pt x="41812" y="67094"/>
                      <a:pt x="37475" y="62748"/>
                    </a:cubicBezTo>
                    <a:cubicBezTo>
                      <a:pt x="28800" y="54599"/>
                      <a:pt x="25548" y="39387"/>
                      <a:pt x="32053" y="28522"/>
                    </a:cubicBezTo>
                    <a:cubicBezTo>
                      <a:pt x="33138" y="26892"/>
                      <a:pt x="35306" y="27978"/>
                      <a:pt x="36933" y="28522"/>
                    </a:cubicBezTo>
                    <a:cubicBezTo>
                      <a:pt x="39101" y="30151"/>
                      <a:pt x="38017" y="32324"/>
                      <a:pt x="38017" y="34498"/>
                    </a:cubicBezTo>
                    <a:cubicBezTo>
                      <a:pt x="39101" y="43190"/>
                      <a:pt x="43439" y="44276"/>
                      <a:pt x="48860" y="49709"/>
                    </a:cubicBezTo>
                    <a:cubicBezTo>
                      <a:pt x="55366" y="54599"/>
                      <a:pt x="68378" y="60574"/>
                      <a:pt x="75968" y="63291"/>
                    </a:cubicBezTo>
                    <a:cubicBezTo>
                      <a:pt x="85726" y="67637"/>
                      <a:pt x="94943" y="53512"/>
                      <a:pt x="110123" y="56772"/>
                    </a:cubicBezTo>
                    <a:cubicBezTo>
                      <a:pt x="111208" y="57858"/>
                      <a:pt x="116087" y="58945"/>
                      <a:pt x="117171" y="58945"/>
                    </a:cubicBezTo>
                    <a:cubicBezTo>
                      <a:pt x="122593" y="58945"/>
                      <a:pt x="120424" y="61661"/>
                      <a:pt x="125846" y="63834"/>
                    </a:cubicBezTo>
                    <a:cubicBezTo>
                      <a:pt x="131809" y="67094"/>
                      <a:pt x="135062" y="61118"/>
                      <a:pt x="139399" y="57315"/>
                    </a:cubicBezTo>
                    <a:cubicBezTo>
                      <a:pt x="143194" y="53512"/>
                      <a:pt x="144821" y="53512"/>
                      <a:pt x="149158" y="50796"/>
                    </a:cubicBezTo>
                    <a:cubicBezTo>
                      <a:pt x="153495" y="46449"/>
                      <a:pt x="151869" y="38844"/>
                      <a:pt x="158375" y="38844"/>
                    </a:cubicBezTo>
                    <a:cubicBezTo>
                      <a:pt x="170302" y="38844"/>
                      <a:pt x="164881" y="42103"/>
                      <a:pt x="180061" y="27435"/>
                    </a:cubicBezTo>
                    <a:cubicBezTo>
                      <a:pt x="189820" y="18743"/>
                      <a:pt x="186024" y="16570"/>
                      <a:pt x="203373" y="13310"/>
                    </a:cubicBezTo>
                    <a:cubicBezTo>
                      <a:pt x="208795" y="13310"/>
                      <a:pt x="215301" y="9507"/>
                      <a:pt x="220722" y="10594"/>
                    </a:cubicBezTo>
                    <a:cubicBezTo>
                      <a:pt x="229397" y="11680"/>
                      <a:pt x="231565" y="14397"/>
                      <a:pt x="240782" y="14397"/>
                    </a:cubicBezTo>
                    <a:cubicBezTo>
                      <a:pt x="262468" y="14397"/>
                      <a:pt x="305840" y="12767"/>
                      <a:pt x="324273" y="7877"/>
                    </a:cubicBezTo>
                    <a:cubicBezTo>
                      <a:pt x="335116" y="4618"/>
                      <a:pt x="332948" y="3531"/>
                      <a:pt x="344875" y="3531"/>
                    </a:cubicBezTo>
                    <a:cubicBezTo>
                      <a:pt x="349212" y="3531"/>
                      <a:pt x="354634" y="2988"/>
                      <a:pt x="360055" y="2988"/>
                    </a:cubicBezTo>
                    <a:cubicBezTo>
                      <a:pt x="366561" y="2988"/>
                      <a:pt x="372525" y="3531"/>
                      <a:pt x="379030" y="1901"/>
                    </a:cubicBezTo>
                    <a:cubicBezTo>
                      <a:pt x="388789" y="-272"/>
                      <a:pt x="392042" y="1901"/>
                      <a:pt x="399632" y="815"/>
                    </a:cubicBezTo>
                    <a:cubicBezTo>
                      <a:pt x="403970" y="272"/>
                      <a:pt x="406680" y="0"/>
                      <a:pt x="409255" y="0"/>
                    </a:cubicBezTo>
                    <a:close/>
                  </a:path>
                </a:pathLst>
              </a:custGeom>
              <a:solidFill>
                <a:srgbClr val="6E3C1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77" name="Freeform: Shape 276">
                <a:extLst>
                  <a:ext uri="{FF2B5EF4-FFF2-40B4-BE49-F238E27FC236}">
                    <a16:creationId xmlns:a16="http://schemas.microsoft.com/office/drawing/2014/main" id="{12F172E3-E869-49A1-A6A4-3519C4C81275}"/>
                  </a:ext>
                </a:extLst>
              </p:cNvPr>
              <p:cNvSpPr>
                <a:spLocks noChangeAspect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5066985" y="5162552"/>
                <a:ext cx="64489" cy="42417"/>
              </a:xfrm>
              <a:custGeom>
                <a:avLst/>
                <a:gdLst>
                  <a:gd name="connsiteX0" fmla="*/ 25915 w 64489"/>
                  <a:gd name="connsiteY0" fmla="*/ 0 h 42417"/>
                  <a:gd name="connsiteX1" fmla="*/ 43179 w 64489"/>
                  <a:gd name="connsiteY1" fmla="*/ 4762 h 42417"/>
                  <a:gd name="connsiteX2" fmla="*/ 59699 w 64489"/>
                  <a:gd name="connsiteY2" fmla="*/ 19793 h 42417"/>
                  <a:gd name="connsiteX3" fmla="*/ 64489 w 64489"/>
                  <a:gd name="connsiteY3" fmla="*/ 33382 h 42417"/>
                  <a:gd name="connsiteX4" fmla="*/ 64352 w 64489"/>
                  <a:gd name="connsiteY4" fmla="*/ 33454 h 42417"/>
                  <a:gd name="connsiteX5" fmla="*/ 52696 w 64489"/>
                  <a:gd name="connsiteY5" fmla="*/ 39566 h 42417"/>
                  <a:gd name="connsiteX6" fmla="*/ 3360 w 64489"/>
                  <a:gd name="connsiteY6" fmla="*/ 34677 h 42417"/>
                  <a:gd name="connsiteX7" fmla="*/ 1191 w 64489"/>
                  <a:gd name="connsiteY7" fmla="*/ 11316 h 42417"/>
                  <a:gd name="connsiteX8" fmla="*/ 1939 w 64489"/>
                  <a:gd name="connsiteY8" fmla="*/ 4460 h 42417"/>
                  <a:gd name="connsiteX9" fmla="*/ 25915 w 64489"/>
                  <a:gd name="connsiteY9" fmla="*/ 0 h 42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4489" h="42417">
                    <a:moveTo>
                      <a:pt x="25915" y="0"/>
                    </a:moveTo>
                    <a:cubicBezTo>
                      <a:pt x="32464" y="99"/>
                      <a:pt x="37623" y="1786"/>
                      <a:pt x="43179" y="4762"/>
                    </a:cubicBezTo>
                    <a:cubicBezTo>
                      <a:pt x="48735" y="7739"/>
                      <a:pt x="54986" y="13295"/>
                      <a:pt x="59699" y="19793"/>
                    </a:cubicBezTo>
                    <a:lnTo>
                      <a:pt x="64489" y="33382"/>
                    </a:lnTo>
                    <a:lnTo>
                      <a:pt x="64352" y="33454"/>
                    </a:lnTo>
                    <a:cubicBezTo>
                      <a:pt x="60015" y="35492"/>
                      <a:pt x="55407" y="37665"/>
                      <a:pt x="52696" y="39566"/>
                    </a:cubicBezTo>
                    <a:cubicBezTo>
                      <a:pt x="42937" y="44999"/>
                      <a:pt x="13119" y="42282"/>
                      <a:pt x="3360" y="34677"/>
                    </a:cubicBezTo>
                    <a:cubicBezTo>
                      <a:pt x="-2604" y="30330"/>
                      <a:pt x="1191" y="17835"/>
                      <a:pt x="1191" y="11316"/>
                    </a:cubicBezTo>
                    <a:lnTo>
                      <a:pt x="1939" y="4460"/>
                    </a:lnTo>
                    <a:lnTo>
                      <a:pt x="25915" y="0"/>
                    </a:ln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  <p:grpSp>
            <p:nvGrpSpPr>
              <p:cNvPr id="278" name="Group 277">
                <a:extLst>
                  <a:ext uri="{FF2B5EF4-FFF2-40B4-BE49-F238E27FC236}">
                    <a16:creationId xmlns:a16="http://schemas.microsoft.com/office/drawing/2014/main" id="{2FB166B5-C6B2-419F-AB70-AE1A57CFE482}"/>
                  </a:ext>
                </a:extLst>
              </p:cNvPr>
              <p:cNvGrpSpPr/>
              <p:nvPr/>
            </p:nvGrpSpPr>
            <p:grpSpPr>
              <a:xfrm>
                <a:off x="5102760" y="5091906"/>
                <a:ext cx="27432" cy="18288"/>
                <a:chOff x="3880384" y="5576888"/>
                <a:chExt cx="393660" cy="195262"/>
              </a:xfrm>
            </p:grpSpPr>
            <p:sp>
              <p:nvSpPr>
                <p:cNvPr id="284" name="Oval 283">
                  <a:extLst>
                    <a:ext uri="{FF2B5EF4-FFF2-40B4-BE49-F238E27FC236}">
                      <a16:creationId xmlns:a16="http://schemas.microsoft.com/office/drawing/2014/main" id="{D572156F-AE75-448A-BC39-1962721FF5D9}"/>
                    </a:ext>
                  </a:extLst>
                </p:cNvPr>
                <p:cNvSpPr/>
                <p:nvPr/>
              </p:nvSpPr>
              <p:spPr>
                <a:xfrm>
                  <a:off x="3880384" y="5576888"/>
                  <a:ext cx="393660" cy="195262"/>
                </a:xfrm>
                <a:prstGeom prst="ellipse">
                  <a:avLst/>
                </a:prstGeom>
                <a:solidFill>
                  <a:schemeClr val="tx1">
                    <a:lumMod val="95000"/>
                    <a:lumOff val="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85" name="Oval 284">
                  <a:extLst>
                    <a:ext uri="{FF2B5EF4-FFF2-40B4-BE49-F238E27FC236}">
                      <a16:creationId xmlns:a16="http://schemas.microsoft.com/office/drawing/2014/main" id="{2061B0E5-5661-4427-962E-CFE66D8A8E5D}"/>
                    </a:ext>
                  </a:extLst>
                </p:cNvPr>
                <p:cNvSpPr/>
                <p:nvPr/>
              </p:nvSpPr>
              <p:spPr>
                <a:xfrm>
                  <a:off x="4159741" y="5641181"/>
                  <a:ext cx="66975" cy="66675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79" name="Group 278">
                <a:extLst>
                  <a:ext uri="{FF2B5EF4-FFF2-40B4-BE49-F238E27FC236}">
                    <a16:creationId xmlns:a16="http://schemas.microsoft.com/office/drawing/2014/main" id="{5F9899C0-8B0C-4708-80E6-2054707F6603}"/>
                  </a:ext>
                </a:extLst>
              </p:cNvPr>
              <p:cNvGrpSpPr/>
              <p:nvPr/>
            </p:nvGrpSpPr>
            <p:grpSpPr>
              <a:xfrm>
                <a:off x="5150385" y="5096668"/>
                <a:ext cx="27432" cy="18288"/>
                <a:chOff x="3880384" y="5576888"/>
                <a:chExt cx="393660" cy="195262"/>
              </a:xfrm>
            </p:grpSpPr>
            <p:sp>
              <p:nvSpPr>
                <p:cNvPr id="282" name="Oval 281">
                  <a:extLst>
                    <a:ext uri="{FF2B5EF4-FFF2-40B4-BE49-F238E27FC236}">
                      <a16:creationId xmlns:a16="http://schemas.microsoft.com/office/drawing/2014/main" id="{E212CB8A-E372-4CC9-A5B8-A439BC7C7A83}"/>
                    </a:ext>
                  </a:extLst>
                </p:cNvPr>
                <p:cNvSpPr/>
                <p:nvPr/>
              </p:nvSpPr>
              <p:spPr>
                <a:xfrm>
                  <a:off x="3880384" y="5576888"/>
                  <a:ext cx="393660" cy="195262"/>
                </a:xfrm>
                <a:prstGeom prst="ellipse">
                  <a:avLst/>
                </a:prstGeom>
                <a:solidFill>
                  <a:schemeClr val="tx1">
                    <a:lumMod val="95000"/>
                    <a:lumOff val="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83" name="Oval 282">
                  <a:extLst>
                    <a:ext uri="{FF2B5EF4-FFF2-40B4-BE49-F238E27FC236}">
                      <a16:creationId xmlns:a16="http://schemas.microsoft.com/office/drawing/2014/main" id="{2B190598-64D9-4247-8AA0-D29B414E878C}"/>
                    </a:ext>
                  </a:extLst>
                </p:cNvPr>
                <p:cNvSpPr/>
                <p:nvPr/>
              </p:nvSpPr>
              <p:spPr>
                <a:xfrm>
                  <a:off x="4159741" y="5641181"/>
                  <a:ext cx="66975" cy="66675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280" name="Freeform: Shape 279">
                <a:extLst>
                  <a:ext uri="{FF2B5EF4-FFF2-40B4-BE49-F238E27FC236}">
                    <a16:creationId xmlns:a16="http://schemas.microsoft.com/office/drawing/2014/main" id="{D5F12E5B-E1E4-44A4-8D3E-30708A156717}"/>
                  </a:ext>
                </a:extLst>
              </p:cNvPr>
              <p:cNvSpPr/>
              <p:nvPr/>
            </p:nvSpPr>
            <p:spPr>
              <a:xfrm>
                <a:off x="5560991" y="5185249"/>
                <a:ext cx="128582" cy="207139"/>
              </a:xfrm>
              <a:custGeom>
                <a:avLst/>
                <a:gdLst>
                  <a:gd name="connsiteX0" fmla="*/ 118870 w 128582"/>
                  <a:gd name="connsiteY0" fmla="*/ 0 h 207139"/>
                  <a:gd name="connsiteX1" fmla="*/ 120358 w 128582"/>
                  <a:gd name="connsiteY1" fmla="*/ 12523 h 207139"/>
                  <a:gd name="connsiteX2" fmla="*/ 126864 w 128582"/>
                  <a:gd name="connsiteY2" fmla="*/ 52181 h 207139"/>
                  <a:gd name="connsiteX3" fmla="*/ 121442 w 128582"/>
                  <a:gd name="connsiteY3" fmla="*/ 32624 h 207139"/>
                  <a:gd name="connsiteX4" fmla="*/ 117105 w 128582"/>
                  <a:gd name="connsiteY4" fmla="*/ 50008 h 207139"/>
                  <a:gd name="connsiteX5" fmla="*/ 124153 w 128582"/>
                  <a:gd name="connsiteY5" fmla="*/ 92927 h 207139"/>
                  <a:gd name="connsiteX6" fmla="*/ 124153 w 128582"/>
                  <a:gd name="connsiteY6" fmla="*/ 102706 h 207139"/>
                  <a:gd name="connsiteX7" fmla="*/ 126864 w 128582"/>
                  <a:gd name="connsiteY7" fmla="*/ 111941 h 207139"/>
                  <a:gd name="connsiteX8" fmla="*/ 121442 w 128582"/>
                  <a:gd name="connsiteY8" fmla="*/ 94013 h 207139"/>
                  <a:gd name="connsiteX9" fmla="*/ 118189 w 128582"/>
                  <a:gd name="connsiteY9" fmla="*/ 85321 h 207139"/>
                  <a:gd name="connsiteX10" fmla="*/ 117105 w 128582"/>
                  <a:gd name="connsiteY10" fmla="*/ 73369 h 207139"/>
                  <a:gd name="connsiteX11" fmla="*/ 114394 w 128582"/>
                  <a:gd name="connsiteY11" fmla="*/ 77715 h 207139"/>
                  <a:gd name="connsiteX12" fmla="*/ 114394 w 128582"/>
                  <a:gd name="connsiteY12" fmla="*/ 63047 h 207139"/>
                  <a:gd name="connsiteX13" fmla="*/ 112225 w 128582"/>
                  <a:gd name="connsiteY13" fmla="*/ 73369 h 207139"/>
                  <a:gd name="connsiteX14" fmla="*/ 113310 w 128582"/>
                  <a:gd name="connsiteY14" fmla="*/ 94013 h 207139"/>
                  <a:gd name="connsiteX15" fmla="*/ 116563 w 128582"/>
                  <a:gd name="connsiteY15" fmla="*/ 102706 h 207139"/>
                  <a:gd name="connsiteX16" fmla="*/ 107888 w 128582"/>
                  <a:gd name="connsiteY16" fmla="*/ 86407 h 207139"/>
                  <a:gd name="connsiteX17" fmla="*/ 105720 w 128582"/>
                  <a:gd name="connsiteY17" fmla="*/ 96730 h 207139"/>
                  <a:gd name="connsiteX18" fmla="*/ 101382 w 128582"/>
                  <a:gd name="connsiteY18" fmla="*/ 123893 h 207139"/>
                  <a:gd name="connsiteX19" fmla="*/ 102467 w 128582"/>
                  <a:gd name="connsiteY19" fmla="*/ 138561 h 207139"/>
                  <a:gd name="connsiteX20" fmla="*/ 102467 w 128582"/>
                  <a:gd name="connsiteY20" fmla="*/ 145624 h 207139"/>
                  <a:gd name="connsiteX21" fmla="*/ 102467 w 128582"/>
                  <a:gd name="connsiteY21" fmla="*/ 159749 h 207139"/>
                  <a:gd name="connsiteX22" fmla="*/ 105720 w 128582"/>
                  <a:gd name="connsiteY22" fmla="*/ 172244 h 207139"/>
                  <a:gd name="connsiteX23" fmla="*/ 94877 w 128582"/>
                  <a:gd name="connsiteY23" fmla="*/ 182023 h 207139"/>
                  <a:gd name="connsiteX24" fmla="*/ 97045 w 128582"/>
                  <a:gd name="connsiteY24" fmla="*/ 188542 h 207139"/>
                  <a:gd name="connsiteX25" fmla="*/ 94877 w 128582"/>
                  <a:gd name="connsiteY25" fmla="*/ 200494 h 207139"/>
                  <a:gd name="connsiteX26" fmla="*/ 67227 w 128582"/>
                  <a:gd name="connsiteY26" fmla="*/ 205384 h 207139"/>
                  <a:gd name="connsiteX27" fmla="*/ 61263 w 128582"/>
                  <a:gd name="connsiteY27" fmla="*/ 203211 h 207139"/>
                  <a:gd name="connsiteX28" fmla="*/ 47709 w 128582"/>
                  <a:gd name="connsiteY28" fmla="*/ 191802 h 207139"/>
                  <a:gd name="connsiteX29" fmla="*/ 48794 w 128582"/>
                  <a:gd name="connsiteY29" fmla="*/ 189629 h 207139"/>
                  <a:gd name="connsiteX30" fmla="*/ 50962 w 128582"/>
                  <a:gd name="connsiteY30" fmla="*/ 189629 h 207139"/>
                  <a:gd name="connsiteX31" fmla="*/ 52589 w 128582"/>
                  <a:gd name="connsiteY31" fmla="*/ 186369 h 207139"/>
                  <a:gd name="connsiteX32" fmla="*/ 54757 w 128582"/>
                  <a:gd name="connsiteY32" fmla="*/ 184739 h 207139"/>
                  <a:gd name="connsiteX33" fmla="*/ 64516 w 128582"/>
                  <a:gd name="connsiteY33" fmla="*/ 168985 h 207139"/>
                  <a:gd name="connsiteX34" fmla="*/ 66685 w 128582"/>
                  <a:gd name="connsiteY34" fmla="*/ 167355 h 207139"/>
                  <a:gd name="connsiteX35" fmla="*/ 79154 w 128582"/>
                  <a:gd name="connsiteY35" fmla="*/ 114658 h 207139"/>
                  <a:gd name="connsiteX36" fmla="*/ 82949 w 128582"/>
                  <a:gd name="connsiteY36" fmla="*/ 100533 h 207139"/>
                  <a:gd name="connsiteX37" fmla="*/ 72106 w 128582"/>
                  <a:gd name="connsiteY37" fmla="*/ 58701 h 207139"/>
                  <a:gd name="connsiteX38" fmla="*/ 65600 w 128582"/>
                  <a:gd name="connsiteY38" fmla="*/ 71196 h 207139"/>
                  <a:gd name="connsiteX39" fmla="*/ 61263 w 128582"/>
                  <a:gd name="connsiteY39" fmla="*/ 78258 h 207139"/>
                  <a:gd name="connsiteX40" fmla="*/ 58552 w 128582"/>
                  <a:gd name="connsiteY40" fmla="*/ 83148 h 207139"/>
                  <a:gd name="connsiteX41" fmla="*/ 53131 w 128582"/>
                  <a:gd name="connsiteY41" fmla="*/ 110311 h 207139"/>
                  <a:gd name="connsiteX42" fmla="*/ 52047 w 128582"/>
                  <a:gd name="connsiteY42" fmla="*/ 116831 h 207139"/>
                  <a:gd name="connsiteX43" fmla="*/ 47167 w 128582"/>
                  <a:gd name="connsiteY43" fmla="*/ 115744 h 207139"/>
                  <a:gd name="connsiteX44" fmla="*/ 35782 w 128582"/>
                  <a:gd name="connsiteY44" fmla="*/ 126609 h 207139"/>
                  <a:gd name="connsiteX45" fmla="*/ 27650 w 128582"/>
                  <a:gd name="connsiteY45" fmla="*/ 129326 h 207139"/>
                  <a:gd name="connsiteX46" fmla="*/ 0 w 128582"/>
                  <a:gd name="connsiteY46" fmla="*/ 124436 h 207139"/>
                  <a:gd name="connsiteX47" fmla="*/ 2169 w 128582"/>
                  <a:gd name="connsiteY47" fmla="*/ 116831 h 207139"/>
                  <a:gd name="connsiteX48" fmla="*/ 3795 w 128582"/>
                  <a:gd name="connsiteY48" fmla="*/ 113571 h 207139"/>
                  <a:gd name="connsiteX49" fmla="*/ 3795 w 128582"/>
                  <a:gd name="connsiteY49" fmla="*/ 110855 h 207139"/>
                  <a:gd name="connsiteX50" fmla="*/ 7048 w 128582"/>
                  <a:gd name="connsiteY50" fmla="*/ 113571 h 207139"/>
                  <a:gd name="connsiteX51" fmla="*/ 20060 w 128582"/>
                  <a:gd name="connsiteY51" fmla="*/ 103792 h 207139"/>
                  <a:gd name="connsiteX52" fmla="*/ 29276 w 128582"/>
                  <a:gd name="connsiteY52" fmla="*/ 93470 h 207139"/>
                  <a:gd name="connsiteX53" fmla="*/ 42288 w 128582"/>
                  <a:gd name="connsiteY53" fmla="*/ 62504 h 207139"/>
                  <a:gd name="connsiteX54" fmla="*/ 35782 w 128582"/>
                  <a:gd name="connsiteY54" fmla="*/ 46206 h 207139"/>
                  <a:gd name="connsiteX55" fmla="*/ 30361 w 128582"/>
                  <a:gd name="connsiteY55" fmla="*/ 46749 h 207139"/>
                  <a:gd name="connsiteX56" fmla="*/ 30003 w 128582"/>
                  <a:gd name="connsiteY56" fmla="*/ 45853 h 207139"/>
                  <a:gd name="connsiteX57" fmla="*/ 34947 w 128582"/>
                  <a:gd name="connsiteY57" fmla="*/ 39364 h 207139"/>
                  <a:gd name="connsiteX58" fmla="*/ 46853 w 128582"/>
                  <a:gd name="connsiteY58" fmla="*/ 32071 h 207139"/>
                  <a:gd name="connsiteX59" fmla="*/ 101622 w 128582"/>
                  <a:gd name="connsiteY59" fmla="*/ 13021 h 207139"/>
                  <a:gd name="connsiteX60" fmla="*/ 116784 w 128582"/>
                  <a:gd name="connsiteY60" fmla="*/ 1915 h 207139"/>
                  <a:gd name="connsiteX61" fmla="*/ 118870 w 128582"/>
                  <a:gd name="connsiteY61" fmla="*/ 0 h 207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128582" h="207139">
                    <a:moveTo>
                      <a:pt x="118870" y="0"/>
                    </a:moveTo>
                    <a:lnTo>
                      <a:pt x="120358" y="12523"/>
                    </a:lnTo>
                    <a:cubicBezTo>
                      <a:pt x="121442" y="30451"/>
                      <a:pt x="132827" y="44576"/>
                      <a:pt x="126864" y="52181"/>
                    </a:cubicBezTo>
                    <a:cubicBezTo>
                      <a:pt x="123611" y="47292"/>
                      <a:pt x="130116" y="44576"/>
                      <a:pt x="121442" y="32624"/>
                    </a:cubicBezTo>
                    <a:cubicBezTo>
                      <a:pt x="122526" y="42403"/>
                      <a:pt x="116563" y="41316"/>
                      <a:pt x="117105" y="50008"/>
                    </a:cubicBezTo>
                    <a:cubicBezTo>
                      <a:pt x="121984" y="73369"/>
                      <a:pt x="123068" y="64677"/>
                      <a:pt x="124153" y="92927"/>
                    </a:cubicBezTo>
                    <a:lnTo>
                      <a:pt x="124153" y="102706"/>
                    </a:lnTo>
                    <a:cubicBezTo>
                      <a:pt x="125779" y="107052"/>
                      <a:pt x="126864" y="104335"/>
                      <a:pt x="126864" y="111941"/>
                    </a:cubicBezTo>
                    <a:cubicBezTo>
                      <a:pt x="121442" y="110311"/>
                      <a:pt x="121442" y="98903"/>
                      <a:pt x="121442" y="94013"/>
                    </a:cubicBezTo>
                    <a:cubicBezTo>
                      <a:pt x="121442" y="90210"/>
                      <a:pt x="119273" y="88037"/>
                      <a:pt x="118189" y="85321"/>
                    </a:cubicBezTo>
                    <a:cubicBezTo>
                      <a:pt x="117105" y="80975"/>
                      <a:pt x="117105" y="77715"/>
                      <a:pt x="117105" y="73369"/>
                    </a:cubicBezTo>
                    <a:cubicBezTo>
                      <a:pt x="115478" y="78802"/>
                      <a:pt x="118189" y="75542"/>
                      <a:pt x="114394" y="77715"/>
                    </a:cubicBezTo>
                    <a:cubicBezTo>
                      <a:pt x="114394" y="68480"/>
                      <a:pt x="117105" y="71196"/>
                      <a:pt x="114394" y="63047"/>
                    </a:cubicBezTo>
                    <a:cubicBezTo>
                      <a:pt x="114394" y="67936"/>
                      <a:pt x="112225" y="69566"/>
                      <a:pt x="112225" y="73369"/>
                    </a:cubicBezTo>
                    <a:cubicBezTo>
                      <a:pt x="112225" y="79888"/>
                      <a:pt x="110057" y="87494"/>
                      <a:pt x="113310" y="94013"/>
                    </a:cubicBezTo>
                    <a:cubicBezTo>
                      <a:pt x="115478" y="96730"/>
                      <a:pt x="118189" y="99446"/>
                      <a:pt x="116563" y="102706"/>
                    </a:cubicBezTo>
                    <a:cubicBezTo>
                      <a:pt x="114394" y="101619"/>
                      <a:pt x="108973" y="87494"/>
                      <a:pt x="107888" y="86407"/>
                    </a:cubicBezTo>
                    <a:cubicBezTo>
                      <a:pt x="105720" y="89124"/>
                      <a:pt x="107888" y="92927"/>
                      <a:pt x="105720" y="96730"/>
                    </a:cubicBezTo>
                    <a:cubicBezTo>
                      <a:pt x="103551" y="105422"/>
                      <a:pt x="103551" y="115201"/>
                      <a:pt x="101382" y="123893"/>
                    </a:cubicBezTo>
                    <a:cubicBezTo>
                      <a:pt x="100840" y="128239"/>
                      <a:pt x="101382" y="135845"/>
                      <a:pt x="102467" y="138561"/>
                    </a:cubicBezTo>
                    <a:lnTo>
                      <a:pt x="102467" y="145624"/>
                    </a:lnTo>
                    <a:cubicBezTo>
                      <a:pt x="101382" y="148884"/>
                      <a:pt x="102467" y="154316"/>
                      <a:pt x="102467" y="159749"/>
                    </a:cubicBezTo>
                    <a:cubicBezTo>
                      <a:pt x="102467" y="168985"/>
                      <a:pt x="102467" y="165725"/>
                      <a:pt x="105720" y="172244"/>
                    </a:cubicBezTo>
                    <a:cubicBezTo>
                      <a:pt x="108973" y="180936"/>
                      <a:pt x="92708" y="174417"/>
                      <a:pt x="94877" y="182023"/>
                    </a:cubicBezTo>
                    <a:cubicBezTo>
                      <a:pt x="95961" y="184739"/>
                      <a:pt x="95961" y="183653"/>
                      <a:pt x="97045" y="188542"/>
                    </a:cubicBezTo>
                    <a:cubicBezTo>
                      <a:pt x="98130" y="193432"/>
                      <a:pt x="99214" y="196148"/>
                      <a:pt x="94877" y="200494"/>
                    </a:cubicBezTo>
                    <a:cubicBezTo>
                      <a:pt x="87286" y="207557"/>
                      <a:pt x="76443" y="208643"/>
                      <a:pt x="67227" y="205384"/>
                    </a:cubicBezTo>
                    <a:cubicBezTo>
                      <a:pt x="60179" y="204297"/>
                      <a:pt x="64516" y="205384"/>
                      <a:pt x="61263" y="203211"/>
                    </a:cubicBezTo>
                    <a:cubicBezTo>
                      <a:pt x="58552" y="201581"/>
                      <a:pt x="42288" y="198321"/>
                      <a:pt x="47709" y="191802"/>
                    </a:cubicBezTo>
                    <a:lnTo>
                      <a:pt x="48794" y="189629"/>
                    </a:lnTo>
                    <a:cubicBezTo>
                      <a:pt x="52047" y="186369"/>
                      <a:pt x="48794" y="190715"/>
                      <a:pt x="50962" y="189629"/>
                    </a:cubicBezTo>
                    <a:cubicBezTo>
                      <a:pt x="52589" y="186369"/>
                      <a:pt x="52047" y="187456"/>
                      <a:pt x="52589" y="186369"/>
                    </a:cubicBezTo>
                    <a:cubicBezTo>
                      <a:pt x="52589" y="184739"/>
                      <a:pt x="52589" y="185283"/>
                      <a:pt x="54757" y="184739"/>
                    </a:cubicBezTo>
                    <a:cubicBezTo>
                      <a:pt x="58010" y="182023"/>
                      <a:pt x="63432" y="172244"/>
                      <a:pt x="64516" y="168985"/>
                    </a:cubicBezTo>
                    <a:cubicBezTo>
                      <a:pt x="66685" y="165182"/>
                      <a:pt x="64516" y="167355"/>
                      <a:pt x="66685" y="167355"/>
                    </a:cubicBezTo>
                    <a:cubicBezTo>
                      <a:pt x="74275" y="149427"/>
                      <a:pt x="78070" y="134215"/>
                      <a:pt x="79154" y="114658"/>
                    </a:cubicBezTo>
                    <a:cubicBezTo>
                      <a:pt x="80239" y="108682"/>
                      <a:pt x="81323" y="106508"/>
                      <a:pt x="82949" y="100533"/>
                    </a:cubicBezTo>
                    <a:cubicBezTo>
                      <a:pt x="78612" y="84778"/>
                      <a:pt x="77528" y="73912"/>
                      <a:pt x="72106" y="58701"/>
                    </a:cubicBezTo>
                    <a:lnTo>
                      <a:pt x="65600" y="71196"/>
                    </a:lnTo>
                    <a:cubicBezTo>
                      <a:pt x="63432" y="73912"/>
                      <a:pt x="63432" y="74999"/>
                      <a:pt x="61263" y="78258"/>
                    </a:cubicBezTo>
                    <a:cubicBezTo>
                      <a:pt x="61263" y="80975"/>
                      <a:pt x="60721" y="78258"/>
                      <a:pt x="58552" y="83148"/>
                    </a:cubicBezTo>
                    <a:cubicBezTo>
                      <a:pt x="54215" y="95643"/>
                      <a:pt x="51504" y="97273"/>
                      <a:pt x="53131" y="110311"/>
                    </a:cubicBezTo>
                    <a:cubicBezTo>
                      <a:pt x="54215" y="114658"/>
                      <a:pt x="50420" y="111941"/>
                      <a:pt x="52047" y="116831"/>
                    </a:cubicBezTo>
                    <a:lnTo>
                      <a:pt x="47167" y="115744"/>
                    </a:lnTo>
                    <a:cubicBezTo>
                      <a:pt x="36324" y="131499"/>
                      <a:pt x="40661" y="123350"/>
                      <a:pt x="35782" y="126609"/>
                    </a:cubicBezTo>
                    <a:cubicBezTo>
                      <a:pt x="30903" y="130412"/>
                      <a:pt x="35782" y="129326"/>
                      <a:pt x="27650" y="129326"/>
                    </a:cubicBezTo>
                    <a:cubicBezTo>
                      <a:pt x="13554" y="129869"/>
                      <a:pt x="10843" y="125523"/>
                      <a:pt x="0" y="124436"/>
                    </a:cubicBezTo>
                    <a:cubicBezTo>
                      <a:pt x="1084" y="123350"/>
                      <a:pt x="1084" y="120090"/>
                      <a:pt x="2169" y="116831"/>
                    </a:cubicBezTo>
                    <a:cubicBezTo>
                      <a:pt x="2169" y="116831"/>
                      <a:pt x="7048" y="119004"/>
                      <a:pt x="3795" y="113571"/>
                    </a:cubicBezTo>
                    <a:lnTo>
                      <a:pt x="3795" y="110855"/>
                    </a:lnTo>
                    <a:lnTo>
                      <a:pt x="7048" y="113571"/>
                    </a:lnTo>
                    <a:cubicBezTo>
                      <a:pt x="13012" y="109768"/>
                      <a:pt x="14096" y="107052"/>
                      <a:pt x="20060" y="103792"/>
                    </a:cubicBezTo>
                    <a:cubicBezTo>
                      <a:pt x="25481" y="99989"/>
                      <a:pt x="25481" y="98903"/>
                      <a:pt x="29276" y="93470"/>
                    </a:cubicBezTo>
                    <a:cubicBezTo>
                      <a:pt x="34698" y="83691"/>
                      <a:pt x="39035" y="72826"/>
                      <a:pt x="42288" y="62504"/>
                    </a:cubicBezTo>
                    <a:cubicBezTo>
                      <a:pt x="31445" y="54898"/>
                      <a:pt x="39577" y="56528"/>
                      <a:pt x="35782" y="46206"/>
                    </a:cubicBezTo>
                    <a:cubicBezTo>
                      <a:pt x="33613" y="46749"/>
                      <a:pt x="35782" y="48922"/>
                      <a:pt x="30361" y="46749"/>
                    </a:cubicBezTo>
                    <a:lnTo>
                      <a:pt x="30003" y="45853"/>
                    </a:lnTo>
                    <a:lnTo>
                      <a:pt x="34947" y="39364"/>
                    </a:lnTo>
                    <a:cubicBezTo>
                      <a:pt x="37427" y="37032"/>
                      <a:pt x="40702" y="35048"/>
                      <a:pt x="46853" y="32071"/>
                    </a:cubicBezTo>
                    <a:cubicBezTo>
                      <a:pt x="59156" y="26118"/>
                      <a:pt x="82572" y="22149"/>
                      <a:pt x="101622" y="13021"/>
                    </a:cubicBezTo>
                    <a:cubicBezTo>
                      <a:pt x="106385" y="10739"/>
                      <a:pt x="111519" y="6622"/>
                      <a:pt x="116784" y="1915"/>
                    </a:cubicBezTo>
                    <a:lnTo>
                      <a:pt x="118870" y="0"/>
                    </a:lnTo>
                    <a:close/>
                  </a:path>
                </a:pathLst>
              </a:custGeom>
              <a:solidFill>
                <a:srgbClr val="9E6C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1" name="Freeform: Shape 280">
                <a:extLst>
                  <a:ext uri="{FF2B5EF4-FFF2-40B4-BE49-F238E27FC236}">
                    <a16:creationId xmlns:a16="http://schemas.microsoft.com/office/drawing/2014/main" id="{B21E17DB-4407-439D-A3C1-494D58E99E39}"/>
                  </a:ext>
                </a:extLst>
              </p:cNvPr>
              <p:cNvSpPr/>
              <p:nvPr/>
            </p:nvSpPr>
            <p:spPr>
              <a:xfrm>
                <a:off x="5214556" y="5198270"/>
                <a:ext cx="139520" cy="158421"/>
              </a:xfrm>
              <a:custGeom>
                <a:avLst/>
                <a:gdLst>
                  <a:gd name="connsiteX0" fmla="*/ 93250 w 139520"/>
                  <a:gd name="connsiteY0" fmla="*/ 0 h 158421"/>
                  <a:gd name="connsiteX1" fmla="*/ 117063 w 139520"/>
                  <a:gd name="connsiteY1" fmla="*/ 4762 h 158421"/>
                  <a:gd name="connsiteX2" fmla="*/ 120257 w 139520"/>
                  <a:gd name="connsiteY2" fmla="*/ 6555 h 158421"/>
                  <a:gd name="connsiteX3" fmla="*/ 120968 w 139520"/>
                  <a:gd name="connsiteY3" fmla="*/ 11793 h 158421"/>
                  <a:gd name="connsiteX4" fmla="*/ 122527 w 139520"/>
                  <a:gd name="connsiteY4" fmla="*/ 20689 h 158421"/>
                  <a:gd name="connsiteX5" fmla="*/ 125779 w 139520"/>
                  <a:gd name="connsiteY5" fmla="*/ 56545 h 158421"/>
                  <a:gd name="connsiteX6" fmla="*/ 126864 w 139520"/>
                  <a:gd name="connsiteY6" fmla="*/ 71757 h 158421"/>
                  <a:gd name="connsiteX7" fmla="*/ 136622 w 139520"/>
                  <a:gd name="connsiteY7" fmla="*/ 112502 h 158421"/>
                  <a:gd name="connsiteX8" fmla="*/ 137707 w 139520"/>
                  <a:gd name="connsiteY8" fmla="*/ 119021 h 158421"/>
                  <a:gd name="connsiteX9" fmla="*/ 137707 w 139520"/>
                  <a:gd name="connsiteY9" fmla="*/ 133689 h 158421"/>
                  <a:gd name="connsiteX10" fmla="*/ 131743 w 139520"/>
                  <a:gd name="connsiteY10" fmla="*/ 129887 h 158421"/>
                  <a:gd name="connsiteX11" fmla="*/ 130659 w 139520"/>
                  <a:gd name="connsiteY11" fmla="*/ 129887 h 158421"/>
                  <a:gd name="connsiteX12" fmla="*/ 130659 w 139520"/>
                  <a:gd name="connsiteY12" fmla="*/ 148901 h 158421"/>
                  <a:gd name="connsiteX13" fmla="*/ 126864 w 139520"/>
                  <a:gd name="connsiteY13" fmla="*/ 154334 h 158421"/>
                  <a:gd name="connsiteX14" fmla="*/ 124695 w 139520"/>
                  <a:gd name="connsiteY14" fmla="*/ 153247 h 158421"/>
                  <a:gd name="connsiteX15" fmla="*/ 121984 w 139520"/>
                  <a:gd name="connsiteY15" fmla="*/ 158137 h 158421"/>
                  <a:gd name="connsiteX16" fmla="*/ 102467 w 139520"/>
                  <a:gd name="connsiteY16" fmla="*/ 158137 h 158421"/>
                  <a:gd name="connsiteX17" fmla="*/ 91624 w 139520"/>
                  <a:gd name="connsiteY17" fmla="*/ 143468 h 158421"/>
                  <a:gd name="connsiteX18" fmla="*/ 95961 w 139520"/>
                  <a:gd name="connsiteY18" fmla="*/ 138579 h 158421"/>
                  <a:gd name="connsiteX19" fmla="*/ 98672 w 139520"/>
                  <a:gd name="connsiteY19" fmla="*/ 136406 h 158421"/>
                  <a:gd name="connsiteX20" fmla="*/ 104636 w 139520"/>
                  <a:gd name="connsiteY20" fmla="*/ 127713 h 158421"/>
                  <a:gd name="connsiteX21" fmla="*/ 106262 w 139520"/>
                  <a:gd name="connsiteY21" fmla="*/ 80449 h 158421"/>
                  <a:gd name="connsiteX22" fmla="*/ 104636 w 139520"/>
                  <a:gd name="connsiteY22" fmla="*/ 78276 h 158421"/>
                  <a:gd name="connsiteX23" fmla="*/ 104636 w 139520"/>
                  <a:gd name="connsiteY23" fmla="*/ 76103 h 158421"/>
                  <a:gd name="connsiteX24" fmla="*/ 100298 w 139520"/>
                  <a:gd name="connsiteY24" fmla="*/ 73386 h 158421"/>
                  <a:gd name="connsiteX25" fmla="*/ 100298 w 139520"/>
                  <a:gd name="connsiteY25" fmla="*/ 71213 h 158421"/>
                  <a:gd name="connsiteX26" fmla="*/ 91624 w 139520"/>
                  <a:gd name="connsiteY26" fmla="*/ 61435 h 158421"/>
                  <a:gd name="connsiteX27" fmla="*/ 80239 w 139520"/>
                  <a:gd name="connsiteY27" fmla="*/ 30468 h 158421"/>
                  <a:gd name="connsiteX28" fmla="*/ 78070 w 139520"/>
                  <a:gd name="connsiteY28" fmla="*/ 23949 h 158421"/>
                  <a:gd name="connsiteX29" fmla="*/ 73733 w 139520"/>
                  <a:gd name="connsiteY29" fmla="*/ 16343 h 158421"/>
                  <a:gd name="connsiteX30" fmla="*/ 71022 w 139520"/>
                  <a:gd name="connsiteY30" fmla="*/ 29925 h 158421"/>
                  <a:gd name="connsiteX31" fmla="*/ 68854 w 139520"/>
                  <a:gd name="connsiteY31" fmla="*/ 36444 h 158421"/>
                  <a:gd name="connsiteX32" fmla="*/ 68854 w 139520"/>
                  <a:gd name="connsiteY32" fmla="*/ 37531 h 158421"/>
                  <a:gd name="connsiteX33" fmla="*/ 66685 w 139520"/>
                  <a:gd name="connsiteY33" fmla="*/ 45136 h 158421"/>
                  <a:gd name="connsiteX34" fmla="*/ 61806 w 139520"/>
                  <a:gd name="connsiteY34" fmla="*/ 61435 h 158421"/>
                  <a:gd name="connsiteX35" fmla="*/ 60721 w 139520"/>
                  <a:gd name="connsiteY35" fmla="*/ 70127 h 158421"/>
                  <a:gd name="connsiteX36" fmla="*/ 57468 w 139520"/>
                  <a:gd name="connsiteY36" fmla="*/ 85338 h 158421"/>
                  <a:gd name="connsiteX37" fmla="*/ 56926 w 139520"/>
                  <a:gd name="connsiteY37" fmla="*/ 103810 h 158421"/>
                  <a:gd name="connsiteX38" fmla="*/ 54758 w 139520"/>
                  <a:gd name="connsiteY38" fmla="*/ 118478 h 158421"/>
                  <a:gd name="connsiteX39" fmla="*/ 47167 w 139520"/>
                  <a:gd name="connsiteY39" fmla="*/ 122824 h 158421"/>
                  <a:gd name="connsiteX40" fmla="*/ 44999 w 139520"/>
                  <a:gd name="connsiteY40" fmla="*/ 123367 h 158421"/>
                  <a:gd name="connsiteX41" fmla="*/ 43915 w 139520"/>
                  <a:gd name="connsiteY41" fmla="*/ 124454 h 158421"/>
                  <a:gd name="connsiteX42" fmla="*/ 42830 w 139520"/>
                  <a:gd name="connsiteY42" fmla="*/ 136406 h 158421"/>
                  <a:gd name="connsiteX43" fmla="*/ 39035 w 139520"/>
                  <a:gd name="connsiteY43" fmla="*/ 141295 h 158421"/>
                  <a:gd name="connsiteX44" fmla="*/ 16265 w 139520"/>
                  <a:gd name="connsiteY44" fmla="*/ 142382 h 158421"/>
                  <a:gd name="connsiteX45" fmla="*/ 0 w 139520"/>
                  <a:gd name="connsiteY45" fmla="*/ 135863 h 158421"/>
                  <a:gd name="connsiteX46" fmla="*/ 7048 w 139520"/>
                  <a:gd name="connsiteY46" fmla="*/ 130430 h 158421"/>
                  <a:gd name="connsiteX47" fmla="*/ 8133 w 139520"/>
                  <a:gd name="connsiteY47" fmla="*/ 129343 h 158421"/>
                  <a:gd name="connsiteX48" fmla="*/ 15723 w 139520"/>
                  <a:gd name="connsiteY48" fmla="*/ 121738 h 158421"/>
                  <a:gd name="connsiteX49" fmla="*/ 20602 w 139520"/>
                  <a:gd name="connsiteY49" fmla="*/ 116305 h 158421"/>
                  <a:gd name="connsiteX50" fmla="*/ 37951 w 139520"/>
                  <a:gd name="connsiteY50" fmla="*/ 64151 h 158421"/>
                  <a:gd name="connsiteX51" fmla="*/ 33614 w 139520"/>
                  <a:gd name="connsiteY51" fmla="*/ 29382 h 158421"/>
                  <a:gd name="connsiteX52" fmla="*/ 25918 w 139520"/>
                  <a:gd name="connsiteY52" fmla="*/ 28050 h 158421"/>
                  <a:gd name="connsiteX53" fmla="*/ 30817 w 139520"/>
                  <a:gd name="connsiteY53" fmla="*/ 26714 h 158421"/>
                  <a:gd name="connsiteX54" fmla="*/ 45625 w 139520"/>
                  <a:gd name="connsiteY54" fmla="*/ 21431 h 158421"/>
                  <a:gd name="connsiteX55" fmla="*/ 69438 w 139520"/>
                  <a:gd name="connsiteY55" fmla="*/ 4762 h 158421"/>
                  <a:gd name="connsiteX56" fmla="*/ 93250 w 139520"/>
                  <a:gd name="connsiteY56" fmla="*/ 0 h 1584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139520" h="158421">
                    <a:moveTo>
                      <a:pt x="93250" y="0"/>
                    </a:moveTo>
                    <a:cubicBezTo>
                      <a:pt x="101187" y="0"/>
                      <a:pt x="105951" y="396"/>
                      <a:pt x="117063" y="4762"/>
                    </a:cubicBezTo>
                    <a:lnTo>
                      <a:pt x="120257" y="6555"/>
                    </a:lnTo>
                    <a:lnTo>
                      <a:pt x="120968" y="11793"/>
                    </a:lnTo>
                    <a:cubicBezTo>
                      <a:pt x="121578" y="15393"/>
                      <a:pt x="122256" y="19060"/>
                      <a:pt x="122527" y="20689"/>
                    </a:cubicBezTo>
                    <a:cubicBezTo>
                      <a:pt x="123611" y="28295"/>
                      <a:pt x="127948" y="50026"/>
                      <a:pt x="125779" y="56545"/>
                    </a:cubicBezTo>
                    <a:cubicBezTo>
                      <a:pt x="124695" y="65237"/>
                      <a:pt x="125779" y="63064"/>
                      <a:pt x="126864" y="71757"/>
                    </a:cubicBezTo>
                    <a:cubicBezTo>
                      <a:pt x="129032" y="91858"/>
                      <a:pt x="132285" y="97290"/>
                      <a:pt x="136622" y="112502"/>
                    </a:cubicBezTo>
                    <a:cubicBezTo>
                      <a:pt x="137707" y="114132"/>
                      <a:pt x="136622" y="116848"/>
                      <a:pt x="137707" y="119021"/>
                    </a:cubicBezTo>
                    <a:cubicBezTo>
                      <a:pt x="138249" y="124997"/>
                      <a:pt x="141502" y="128257"/>
                      <a:pt x="137707" y="133689"/>
                    </a:cubicBezTo>
                    <a:cubicBezTo>
                      <a:pt x="134996" y="132603"/>
                      <a:pt x="131743" y="130973"/>
                      <a:pt x="131743" y="129887"/>
                    </a:cubicBezTo>
                    <a:lnTo>
                      <a:pt x="130659" y="129887"/>
                    </a:lnTo>
                    <a:cubicBezTo>
                      <a:pt x="129032" y="135319"/>
                      <a:pt x="134996" y="147271"/>
                      <a:pt x="130659" y="148901"/>
                    </a:cubicBezTo>
                    <a:cubicBezTo>
                      <a:pt x="125779" y="152161"/>
                      <a:pt x="127948" y="148901"/>
                      <a:pt x="126864" y="154334"/>
                    </a:cubicBezTo>
                    <a:cubicBezTo>
                      <a:pt x="124695" y="154334"/>
                      <a:pt x="129032" y="154334"/>
                      <a:pt x="124695" y="153247"/>
                    </a:cubicBezTo>
                    <a:cubicBezTo>
                      <a:pt x="122527" y="156507"/>
                      <a:pt x="122527" y="155420"/>
                      <a:pt x="121984" y="158137"/>
                    </a:cubicBezTo>
                    <a:cubicBezTo>
                      <a:pt x="119816" y="157050"/>
                      <a:pt x="105720" y="158137"/>
                      <a:pt x="102467" y="158137"/>
                    </a:cubicBezTo>
                    <a:cubicBezTo>
                      <a:pt x="91624" y="159766"/>
                      <a:pt x="81323" y="154334"/>
                      <a:pt x="91624" y="143468"/>
                    </a:cubicBezTo>
                    <a:cubicBezTo>
                      <a:pt x="94877" y="140209"/>
                      <a:pt x="93792" y="139665"/>
                      <a:pt x="95961" y="138579"/>
                    </a:cubicBezTo>
                    <a:cubicBezTo>
                      <a:pt x="98672" y="137492"/>
                      <a:pt x="97045" y="139665"/>
                      <a:pt x="98672" y="136406"/>
                    </a:cubicBezTo>
                    <a:lnTo>
                      <a:pt x="104636" y="127713"/>
                    </a:lnTo>
                    <a:cubicBezTo>
                      <a:pt x="113310" y="119021"/>
                      <a:pt x="106262" y="90771"/>
                      <a:pt x="106262" y="80449"/>
                    </a:cubicBezTo>
                    <a:cubicBezTo>
                      <a:pt x="103551" y="79362"/>
                      <a:pt x="104636" y="81536"/>
                      <a:pt x="104636" y="78276"/>
                    </a:cubicBezTo>
                    <a:cubicBezTo>
                      <a:pt x="104636" y="76103"/>
                      <a:pt x="105720" y="79362"/>
                      <a:pt x="104636" y="76103"/>
                    </a:cubicBezTo>
                    <a:lnTo>
                      <a:pt x="100298" y="73386"/>
                    </a:lnTo>
                    <a:cubicBezTo>
                      <a:pt x="100298" y="72300"/>
                      <a:pt x="95419" y="72300"/>
                      <a:pt x="100298" y="71213"/>
                    </a:cubicBezTo>
                    <a:cubicBezTo>
                      <a:pt x="95961" y="66867"/>
                      <a:pt x="95961" y="66867"/>
                      <a:pt x="91624" y="61435"/>
                    </a:cubicBezTo>
                    <a:cubicBezTo>
                      <a:pt x="85660" y="50569"/>
                      <a:pt x="87829" y="40247"/>
                      <a:pt x="80239" y="30468"/>
                    </a:cubicBezTo>
                    <a:lnTo>
                      <a:pt x="78070" y="23949"/>
                    </a:lnTo>
                    <a:cubicBezTo>
                      <a:pt x="76986" y="21233"/>
                      <a:pt x="75901" y="19059"/>
                      <a:pt x="73733" y="16343"/>
                    </a:cubicBezTo>
                    <a:cubicBezTo>
                      <a:pt x="71022" y="21233"/>
                      <a:pt x="72106" y="25035"/>
                      <a:pt x="71022" y="29925"/>
                    </a:cubicBezTo>
                    <a:cubicBezTo>
                      <a:pt x="71022" y="31555"/>
                      <a:pt x="69938" y="34271"/>
                      <a:pt x="68854" y="36444"/>
                    </a:cubicBezTo>
                    <a:lnTo>
                      <a:pt x="68854" y="37531"/>
                    </a:lnTo>
                    <a:lnTo>
                      <a:pt x="66685" y="45136"/>
                    </a:lnTo>
                    <a:cubicBezTo>
                      <a:pt x="62890" y="52742"/>
                      <a:pt x="63974" y="47853"/>
                      <a:pt x="61806" y="61435"/>
                    </a:cubicBezTo>
                    <a:cubicBezTo>
                      <a:pt x="60721" y="64694"/>
                      <a:pt x="60721" y="66867"/>
                      <a:pt x="60721" y="70127"/>
                    </a:cubicBezTo>
                    <a:cubicBezTo>
                      <a:pt x="60721" y="72843"/>
                      <a:pt x="58553" y="75560"/>
                      <a:pt x="57468" y="85338"/>
                    </a:cubicBezTo>
                    <a:lnTo>
                      <a:pt x="56926" y="103810"/>
                    </a:lnTo>
                    <a:cubicBezTo>
                      <a:pt x="56926" y="114675"/>
                      <a:pt x="57468" y="108699"/>
                      <a:pt x="54758" y="118478"/>
                    </a:cubicBezTo>
                    <a:cubicBezTo>
                      <a:pt x="52589" y="122824"/>
                      <a:pt x="52047" y="123367"/>
                      <a:pt x="47167" y="122824"/>
                    </a:cubicBezTo>
                    <a:cubicBezTo>
                      <a:pt x="47167" y="122824"/>
                      <a:pt x="44999" y="121738"/>
                      <a:pt x="44999" y="123367"/>
                    </a:cubicBezTo>
                    <a:lnTo>
                      <a:pt x="43915" y="124454"/>
                    </a:lnTo>
                    <a:cubicBezTo>
                      <a:pt x="43915" y="128800"/>
                      <a:pt x="43915" y="132060"/>
                      <a:pt x="42830" y="136406"/>
                    </a:cubicBezTo>
                    <a:cubicBezTo>
                      <a:pt x="39035" y="144555"/>
                      <a:pt x="40119" y="140209"/>
                      <a:pt x="39035" y="141295"/>
                    </a:cubicBezTo>
                    <a:cubicBezTo>
                      <a:pt x="31445" y="143468"/>
                      <a:pt x="24397" y="142382"/>
                      <a:pt x="16265" y="142382"/>
                    </a:cubicBezTo>
                    <a:cubicBezTo>
                      <a:pt x="5964" y="142382"/>
                      <a:pt x="2169" y="142382"/>
                      <a:pt x="0" y="135863"/>
                    </a:cubicBezTo>
                    <a:cubicBezTo>
                      <a:pt x="2711" y="132060"/>
                      <a:pt x="3795" y="131516"/>
                      <a:pt x="7048" y="130430"/>
                    </a:cubicBezTo>
                    <a:cubicBezTo>
                      <a:pt x="9759" y="128257"/>
                      <a:pt x="3795" y="132060"/>
                      <a:pt x="8133" y="129343"/>
                    </a:cubicBezTo>
                    <a:lnTo>
                      <a:pt x="15723" y="121738"/>
                    </a:lnTo>
                    <a:cubicBezTo>
                      <a:pt x="18433" y="117391"/>
                      <a:pt x="16265" y="118478"/>
                      <a:pt x="20602" y="116305"/>
                    </a:cubicBezTo>
                    <a:cubicBezTo>
                      <a:pt x="32529" y="110329"/>
                      <a:pt x="39035" y="70670"/>
                      <a:pt x="37951" y="64151"/>
                    </a:cubicBezTo>
                    <a:cubicBezTo>
                      <a:pt x="37951" y="60348"/>
                      <a:pt x="24939" y="41877"/>
                      <a:pt x="33614" y="29382"/>
                    </a:cubicBezTo>
                    <a:lnTo>
                      <a:pt x="25918" y="28050"/>
                    </a:lnTo>
                    <a:lnTo>
                      <a:pt x="30817" y="26714"/>
                    </a:lnTo>
                    <a:cubicBezTo>
                      <a:pt x="36621" y="25226"/>
                      <a:pt x="41756" y="23713"/>
                      <a:pt x="45625" y="21431"/>
                    </a:cubicBezTo>
                    <a:cubicBezTo>
                      <a:pt x="61103" y="12303"/>
                      <a:pt x="61501" y="8334"/>
                      <a:pt x="69438" y="4762"/>
                    </a:cubicBezTo>
                    <a:cubicBezTo>
                      <a:pt x="77375" y="1190"/>
                      <a:pt x="85313" y="0"/>
                      <a:pt x="93250" y="0"/>
                    </a:cubicBezTo>
                    <a:close/>
                  </a:path>
                </a:pathLst>
              </a:custGeom>
              <a:solidFill>
                <a:srgbClr val="9E6C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286" name="Group 285">
            <a:extLst>
              <a:ext uri="{FF2B5EF4-FFF2-40B4-BE49-F238E27FC236}">
                <a16:creationId xmlns:a16="http://schemas.microsoft.com/office/drawing/2014/main" id="{A660CF38-446A-43C5-A981-6BB94A334322}"/>
              </a:ext>
            </a:extLst>
          </p:cNvPr>
          <p:cNvGrpSpPr/>
          <p:nvPr/>
        </p:nvGrpSpPr>
        <p:grpSpPr>
          <a:xfrm flipH="1">
            <a:off x="1616094" y="5929931"/>
            <a:ext cx="512012" cy="325023"/>
            <a:chOff x="5039917" y="4959547"/>
            <a:chExt cx="751283" cy="476911"/>
          </a:xfrm>
        </p:grpSpPr>
        <p:sp>
          <p:nvSpPr>
            <p:cNvPr id="287" name="Oval 286">
              <a:extLst>
                <a:ext uri="{FF2B5EF4-FFF2-40B4-BE49-F238E27FC236}">
                  <a16:creationId xmlns:a16="http://schemas.microsoft.com/office/drawing/2014/main" id="{B4BBFC97-546D-41A1-8924-DCC815E499E2}"/>
                </a:ext>
              </a:extLst>
            </p:cNvPr>
            <p:cNvSpPr/>
            <p:nvPr/>
          </p:nvSpPr>
          <p:spPr>
            <a:xfrm>
              <a:off x="5066985" y="5276924"/>
              <a:ext cx="724215" cy="159534"/>
            </a:xfrm>
            <a:prstGeom prst="ellipse">
              <a:avLst/>
            </a:prstGeom>
            <a:solidFill>
              <a:schemeClr val="tx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88" name="Group 287">
              <a:extLst>
                <a:ext uri="{FF2B5EF4-FFF2-40B4-BE49-F238E27FC236}">
                  <a16:creationId xmlns:a16="http://schemas.microsoft.com/office/drawing/2014/main" id="{56EC6931-CAE4-4FF5-A49E-A1ECFCDECBFA}"/>
                </a:ext>
              </a:extLst>
            </p:cNvPr>
            <p:cNvGrpSpPr/>
            <p:nvPr/>
          </p:nvGrpSpPr>
          <p:grpSpPr>
            <a:xfrm>
              <a:off x="5039917" y="4959547"/>
              <a:ext cx="650631" cy="432841"/>
              <a:chOff x="5039917" y="4959547"/>
              <a:chExt cx="650631" cy="432841"/>
            </a:xfrm>
          </p:grpSpPr>
          <p:sp>
            <p:nvSpPr>
              <p:cNvPr id="289" name="Freeform: Shape 288">
                <a:extLst>
                  <a:ext uri="{FF2B5EF4-FFF2-40B4-BE49-F238E27FC236}">
                    <a16:creationId xmlns:a16="http://schemas.microsoft.com/office/drawing/2014/main" id="{FAEC452A-EEE8-4FF5-A374-9688CA8E4759}"/>
                  </a:ext>
                </a:extLst>
              </p:cNvPr>
              <p:cNvSpPr/>
              <p:nvPr/>
            </p:nvSpPr>
            <p:spPr>
              <a:xfrm>
                <a:off x="5039917" y="4959547"/>
                <a:ext cx="650631" cy="290048"/>
              </a:xfrm>
              <a:custGeom>
                <a:avLst/>
                <a:gdLst>
                  <a:gd name="connsiteX0" fmla="*/ 409255 w 650631"/>
                  <a:gd name="connsiteY0" fmla="*/ 0 h 290048"/>
                  <a:gd name="connsiteX1" fmla="*/ 418065 w 650631"/>
                  <a:gd name="connsiteY1" fmla="*/ 815 h 290048"/>
                  <a:gd name="connsiteX2" fmla="*/ 435414 w 650631"/>
                  <a:gd name="connsiteY2" fmla="*/ 3531 h 290048"/>
                  <a:gd name="connsiteX3" fmla="*/ 448968 w 650631"/>
                  <a:gd name="connsiteY3" fmla="*/ 5704 h 290048"/>
                  <a:gd name="connsiteX4" fmla="*/ 467401 w 650631"/>
                  <a:gd name="connsiteY4" fmla="*/ 4618 h 290048"/>
                  <a:gd name="connsiteX5" fmla="*/ 487461 w 650631"/>
                  <a:gd name="connsiteY5" fmla="*/ 6791 h 290048"/>
                  <a:gd name="connsiteX6" fmla="*/ 549266 w 650631"/>
                  <a:gd name="connsiteY6" fmla="*/ 1358 h 290048"/>
                  <a:gd name="connsiteX7" fmla="*/ 607276 w 650631"/>
                  <a:gd name="connsiteY7" fmla="*/ 4074 h 290048"/>
                  <a:gd name="connsiteX8" fmla="*/ 649022 w 650631"/>
                  <a:gd name="connsiteY8" fmla="*/ 37214 h 290048"/>
                  <a:gd name="connsiteX9" fmla="*/ 646853 w 650631"/>
                  <a:gd name="connsiteY9" fmla="*/ 81219 h 290048"/>
                  <a:gd name="connsiteX10" fmla="*/ 641974 w 650631"/>
                  <a:gd name="connsiteY10" fmla="*/ 101320 h 290048"/>
                  <a:gd name="connsiteX11" fmla="*/ 636552 w 650631"/>
                  <a:gd name="connsiteY11" fmla="*/ 119791 h 290048"/>
                  <a:gd name="connsiteX12" fmla="*/ 630047 w 650631"/>
                  <a:gd name="connsiteY12" fmla="*/ 159450 h 290048"/>
                  <a:gd name="connsiteX13" fmla="*/ 630589 w 650631"/>
                  <a:gd name="connsiteY13" fmla="*/ 182810 h 290048"/>
                  <a:gd name="connsiteX14" fmla="*/ 638823 w 650631"/>
                  <a:gd name="connsiteY14" fmla="*/ 216272 h 290048"/>
                  <a:gd name="connsiteX15" fmla="*/ 639944 w 650631"/>
                  <a:gd name="connsiteY15" fmla="*/ 225701 h 290048"/>
                  <a:gd name="connsiteX16" fmla="*/ 637858 w 650631"/>
                  <a:gd name="connsiteY16" fmla="*/ 227616 h 290048"/>
                  <a:gd name="connsiteX17" fmla="*/ 622696 w 650631"/>
                  <a:gd name="connsiteY17" fmla="*/ 238722 h 290048"/>
                  <a:gd name="connsiteX18" fmla="*/ 567927 w 650631"/>
                  <a:gd name="connsiteY18" fmla="*/ 257772 h 290048"/>
                  <a:gd name="connsiteX19" fmla="*/ 556021 w 650631"/>
                  <a:gd name="connsiteY19" fmla="*/ 265065 h 290048"/>
                  <a:gd name="connsiteX20" fmla="*/ 551077 w 650631"/>
                  <a:gd name="connsiteY20" fmla="*/ 271554 h 290048"/>
                  <a:gd name="connsiteX21" fmla="*/ 549266 w 650631"/>
                  <a:gd name="connsiteY21" fmla="*/ 267017 h 290048"/>
                  <a:gd name="connsiteX22" fmla="*/ 527038 w 650631"/>
                  <a:gd name="connsiteY22" fmla="*/ 288748 h 290048"/>
                  <a:gd name="connsiteX23" fmla="*/ 529206 w 650631"/>
                  <a:gd name="connsiteY23" fmla="*/ 289291 h 290048"/>
                  <a:gd name="connsiteX24" fmla="*/ 522701 w 650631"/>
                  <a:gd name="connsiteY24" fmla="*/ 288748 h 290048"/>
                  <a:gd name="connsiteX25" fmla="*/ 521616 w 650631"/>
                  <a:gd name="connsiteY25" fmla="*/ 278969 h 290048"/>
                  <a:gd name="connsiteX26" fmla="*/ 518363 w 650631"/>
                  <a:gd name="connsiteY26" fmla="*/ 275709 h 290048"/>
                  <a:gd name="connsiteX27" fmla="*/ 512942 w 650631"/>
                  <a:gd name="connsiteY27" fmla="*/ 255608 h 290048"/>
                  <a:gd name="connsiteX28" fmla="*/ 498304 w 650631"/>
                  <a:gd name="connsiteY28" fmla="*/ 233878 h 290048"/>
                  <a:gd name="connsiteX29" fmla="*/ 480955 w 650631"/>
                  <a:gd name="connsiteY29" fmla="*/ 244743 h 290048"/>
                  <a:gd name="connsiteX30" fmla="*/ 478786 w 650631"/>
                  <a:gd name="connsiteY30" fmla="*/ 246916 h 290048"/>
                  <a:gd name="connsiteX31" fmla="*/ 478786 w 650631"/>
                  <a:gd name="connsiteY31" fmla="*/ 244743 h 290048"/>
                  <a:gd name="connsiteX32" fmla="*/ 451679 w 650631"/>
                  <a:gd name="connsiteY32" fmla="*/ 256152 h 290048"/>
                  <a:gd name="connsiteX33" fmla="*/ 387163 w 650631"/>
                  <a:gd name="connsiteY33" fmla="*/ 262128 h 290048"/>
                  <a:gd name="connsiteX34" fmla="*/ 364934 w 650631"/>
                  <a:gd name="connsiteY34" fmla="*/ 257781 h 290048"/>
                  <a:gd name="connsiteX35" fmla="*/ 360055 w 650631"/>
                  <a:gd name="connsiteY35" fmla="*/ 256695 h 290048"/>
                  <a:gd name="connsiteX36" fmla="*/ 343791 w 650631"/>
                  <a:gd name="connsiteY36" fmla="*/ 253979 h 290048"/>
                  <a:gd name="connsiteX37" fmla="*/ 310719 w 650631"/>
                  <a:gd name="connsiteY37" fmla="*/ 246373 h 290048"/>
                  <a:gd name="connsiteX38" fmla="*/ 294455 w 650631"/>
                  <a:gd name="connsiteY38" fmla="*/ 242027 h 290048"/>
                  <a:gd name="connsiteX39" fmla="*/ 294896 w 650631"/>
                  <a:gd name="connsiteY39" fmla="*/ 245277 h 290048"/>
                  <a:gd name="connsiteX40" fmla="*/ 291702 w 650631"/>
                  <a:gd name="connsiteY40" fmla="*/ 243484 h 290048"/>
                  <a:gd name="connsiteX41" fmla="*/ 267889 w 650631"/>
                  <a:gd name="connsiteY41" fmla="*/ 238722 h 290048"/>
                  <a:gd name="connsiteX42" fmla="*/ 244077 w 650631"/>
                  <a:gd name="connsiteY42" fmla="*/ 243484 h 290048"/>
                  <a:gd name="connsiteX43" fmla="*/ 220264 w 650631"/>
                  <a:gd name="connsiteY43" fmla="*/ 260153 h 290048"/>
                  <a:gd name="connsiteX44" fmla="*/ 205456 w 650631"/>
                  <a:gd name="connsiteY44" fmla="*/ 265436 h 290048"/>
                  <a:gd name="connsiteX45" fmla="*/ 200557 w 650631"/>
                  <a:gd name="connsiteY45" fmla="*/ 266772 h 290048"/>
                  <a:gd name="connsiteX46" fmla="*/ 188439 w 650631"/>
                  <a:gd name="connsiteY46" fmla="*/ 264675 h 290048"/>
                  <a:gd name="connsiteX47" fmla="*/ 164881 w 650631"/>
                  <a:gd name="connsiteY47" fmla="*/ 239310 h 290048"/>
                  <a:gd name="connsiteX48" fmla="*/ 157290 w 650631"/>
                  <a:gd name="connsiteY48" fmla="*/ 233334 h 290048"/>
                  <a:gd name="connsiteX49" fmla="*/ 143194 w 650631"/>
                  <a:gd name="connsiteY49" fmla="*/ 215950 h 290048"/>
                  <a:gd name="connsiteX50" fmla="*/ 116629 w 650631"/>
                  <a:gd name="connsiteY50" fmla="*/ 215950 h 290048"/>
                  <a:gd name="connsiteX51" fmla="*/ 101449 w 650631"/>
                  <a:gd name="connsiteY51" fmla="*/ 231161 h 290048"/>
                  <a:gd name="connsiteX52" fmla="*/ 91556 w 650631"/>
                  <a:gd name="connsiteY52" fmla="*/ 236386 h 290048"/>
                  <a:gd name="connsiteX53" fmla="*/ 86766 w 650631"/>
                  <a:gd name="connsiteY53" fmla="*/ 222797 h 290048"/>
                  <a:gd name="connsiteX54" fmla="*/ 70246 w 650631"/>
                  <a:gd name="connsiteY54" fmla="*/ 207766 h 290048"/>
                  <a:gd name="connsiteX55" fmla="*/ 52982 w 650631"/>
                  <a:gd name="connsiteY55" fmla="*/ 203004 h 290048"/>
                  <a:gd name="connsiteX56" fmla="*/ 29006 w 650631"/>
                  <a:gd name="connsiteY56" fmla="*/ 207464 h 290048"/>
                  <a:gd name="connsiteX57" fmla="*/ 29546 w 650631"/>
                  <a:gd name="connsiteY57" fmla="*/ 202504 h 290048"/>
                  <a:gd name="connsiteX58" fmla="*/ 36933 w 650631"/>
                  <a:gd name="connsiteY58" fmla="*/ 194762 h 290048"/>
                  <a:gd name="connsiteX59" fmla="*/ 47776 w 650631"/>
                  <a:gd name="connsiteY59" fmla="*/ 182267 h 290048"/>
                  <a:gd name="connsiteX60" fmla="*/ 53197 w 650631"/>
                  <a:gd name="connsiteY60" fmla="*/ 155103 h 290048"/>
                  <a:gd name="connsiteX61" fmla="*/ 51571 w 650631"/>
                  <a:gd name="connsiteY61" fmla="*/ 145325 h 290048"/>
                  <a:gd name="connsiteX62" fmla="*/ 45607 w 650631"/>
                  <a:gd name="connsiteY62" fmla="*/ 126853 h 290048"/>
                  <a:gd name="connsiteX63" fmla="*/ 40728 w 650631"/>
                  <a:gd name="connsiteY63" fmla="*/ 121964 h 290048"/>
                  <a:gd name="connsiteX64" fmla="*/ 21210 w 650631"/>
                  <a:gd name="connsiteY64" fmla="*/ 118704 h 290048"/>
                  <a:gd name="connsiteX65" fmla="*/ 16331 w 650631"/>
                  <a:gd name="connsiteY65" fmla="*/ 113815 h 290048"/>
                  <a:gd name="connsiteX66" fmla="*/ 1151 w 650631"/>
                  <a:gd name="connsiteY66" fmla="*/ 82849 h 290048"/>
                  <a:gd name="connsiteX67" fmla="*/ 33138 w 650631"/>
                  <a:gd name="connsiteY67" fmla="*/ 77416 h 290048"/>
                  <a:gd name="connsiteX68" fmla="*/ 62956 w 650631"/>
                  <a:gd name="connsiteY68" fmla="*/ 90454 h 290048"/>
                  <a:gd name="connsiteX69" fmla="*/ 42896 w 650631"/>
                  <a:gd name="connsiteY69" fmla="*/ 68180 h 290048"/>
                  <a:gd name="connsiteX70" fmla="*/ 37475 w 650631"/>
                  <a:gd name="connsiteY70" fmla="*/ 62748 h 290048"/>
                  <a:gd name="connsiteX71" fmla="*/ 32053 w 650631"/>
                  <a:gd name="connsiteY71" fmla="*/ 28522 h 290048"/>
                  <a:gd name="connsiteX72" fmla="*/ 36933 w 650631"/>
                  <a:gd name="connsiteY72" fmla="*/ 28522 h 290048"/>
                  <a:gd name="connsiteX73" fmla="*/ 38017 w 650631"/>
                  <a:gd name="connsiteY73" fmla="*/ 34498 h 290048"/>
                  <a:gd name="connsiteX74" fmla="*/ 48860 w 650631"/>
                  <a:gd name="connsiteY74" fmla="*/ 49709 h 290048"/>
                  <a:gd name="connsiteX75" fmla="*/ 75968 w 650631"/>
                  <a:gd name="connsiteY75" fmla="*/ 63291 h 290048"/>
                  <a:gd name="connsiteX76" fmla="*/ 110123 w 650631"/>
                  <a:gd name="connsiteY76" fmla="*/ 56772 h 290048"/>
                  <a:gd name="connsiteX77" fmla="*/ 117171 w 650631"/>
                  <a:gd name="connsiteY77" fmla="*/ 58945 h 290048"/>
                  <a:gd name="connsiteX78" fmla="*/ 125846 w 650631"/>
                  <a:gd name="connsiteY78" fmla="*/ 63834 h 290048"/>
                  <a:gd name="connsiteX79" fmla="*/ 139399 w 650631"/>
                  <a:gd name="connsiteY79" fmla="*/ 57315 h 290048"/>
                  <a:gd name="connsiteX80" fmla="*/ 149158 w 650631"/>
                  <a:gd name="connsiteY80" fmla="*/ 50796 h 290048"/>
                  <a:gd name="connsiteX81" fmla="*/ 158375 w 650631"/>
                  <a:gd name="connsiteY81" fmla="*/ 38844 h 290048"/>
                  <a:gd name="connsiteX82" fmla="*/ 180061 w 650631"/>
                  <a:gd name="connsiteY82" fmla="*/ 27435 h 290048"/>
                  <a:gd name="connsiteX83" fmla="*/ 203373 w 650631"/>
                  <a:gd name="connsiteY83" fmla="*/ 13310 h 290048"/>
                  <a:gd name="connsiteX84" fmla="*/ 220722 w 650631"/>
                  <a:gd name="connsiteY84" fmla="*/ 10594 h 290048"/>
                  <a:gd name="connsiteX85" fmla="*/ 240782 w 650631"/>
                  <a:gd name="connsiteY85" fmla="*/ 14397 h 290048"/>
                  <a:gd name="connsiteX86" fmla="*/ 324273 w 650631"/>
                  <a:gd name="connsiteY86" fmla="*/ 7877 h 290048"/>
                  <a:gd name="connsiteX87" fmla="*/ 344875 w 650631"/>
                  <a:gd name="connsiteY87" fmla="*/ 3531 h 290048"/>
                  <a:gd name="connsiteX88" fmla="*/ 360055 w 650631"/>
                  <a:gd name="connsiteY88" fmla="*/ 2988 h 290048"/>
                  <a:gd name="connsiteX89" fmla="*/ 379030 w 650631"/>
                  <a:gd name="connsiteY89" fmla="*/ 1901 h 290048"/>
                  <a:gd name="connsiteX90" fmla="*/ 399632 w 650631"/>
                  <a:gd name="connsiteY90" fmla="*/ 815 h 290048"/>
                  <a:gd name="connsiteX91" fmla="*/ 409255 w 650631"/>
                  <a:gd name="connsiteY91" fmla="*/ 0 h 2900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</a:cxnLst>
                <a:rect l="l" t="t" r="r" b="b"/>
                <a:pathLst>
                  <a:path w="650631" h="290048">
                    <a:moveTo>
                      <a:pt x="409255" y="0"/>
                    </a:moveTo>
                    <a:cubicBezTo>
                      <a:pt x="411831" y="0"/>
                      <a:pt x="414270" y="272"/>
                      <a:pt x="418065" y="815"/>
                    </a:cubicBezTo>
                    <a:cubicBezTo>
                      <a:pt x="422403" y="815"/>
                      <a:pt x="432161" y="4618"/>
                      <a:pt x="435414" y="3531"/>
                    </a:cubicBezTo>
                    <a:cubicBezTo>
                      <a:pt x="443546" y="2988"/>
                      <a:pt x="441378" y="4618"/>
                      <a:pt x="448968" y="5704"/>
                    </a:cubicBezTo>
                    <a:cubicBezTo>
                      <a:pt x="455474" y="5704"/>
                      <a:pt x="458727" y="3531"/>
                      <a:pt x="467401" y="4618"/>
                    </a:cubicBezTo>
                    <a:cubicBezTo>
                      <a:pt x="473907" y="5704"/>
                      <a:pt x="480955" y="5704"/>
                      <a:pt x="487461" y="6791"/>
                    </a:cubicBezTo>
                    <a:cubicBezTo>
                      <a:pt x="515653" y="11680"/>
                      <a:pt x="534628" y="272"/>
                      <a:pt x="549266" y="1358"/>
                    </a:cubicBezTo>
                    <a:cubicBezTo>
                      <a:pt x="561193" y="2445"/>
                      <a:pt x="599686" y="2445"/>
                      <a:pt x="607276" y="4074"/>
                    </a:cubicBezTo>
                    <a:cubicBezTo>
                      <a:pt x="624083" y="9507"/>
                      <a:pt x="642516" y="12223"/>
                      <a:pt x="649022" y="37214"/>
                    </a:cubicBezTo>
                    <a:cubicBezTo>
                      <a:pt x="652275" y="46993"/>
                      <a:pt x="650106" y="71440"/>
                      <a:pt x="646853" y="81219"/>
                    </a:cubicBezTo>
                    <a:cubicBezTo>
                      <a:pt x="645227" y="87738"/>
                      <a:pt x="644142" y="94800"/>
                      <a:pt x="641974" y="101320"/>
                    </a:cubicBezTo>
                    <a:cubicBezTo>
                      <a:pt x="639263" y="110012"/>
                      <a:pt x="637637" y="109469"/>
                      <a:pt x="636552" y="119791"/>
                    </a:cubicBezTo>
                    <a:cubicBezTo>
                      <a:pt x="635468" y="128483"/>
                      <a:pt x="628962" y="154017"/>
                      <a:pt x="630047" y="159450"/>
                    </a:cubicBezTo>
                    <a:cubicBezTo>
                      <a:pt x="630047" y="168142"/>
                      <a:pt x="630589" y="173575"/>
                      <a:pt x="630589" y="182810"/>
                    </a:cubicBezTo>
                    <a:cubicBezTo>
                      <a:pt x="630589" y="188922"/>
                      <a:pt x="635468" y="197784"/>
                      <a:pt x="638823" y="216272"/>
                    </a:cubicBezTo>
                    <a:lnTo>
                      <a:pt x="639944" y="225701"/>
                    </a:lnTo>
                    <a:lnTo>
                      <a:pt x="637858" y="227616"/>
                    </a:lnTo>
                    <a:cubicBezTo>
                      <a:pt x="632593" y="232323"/>
                      <a:pt x="627459" y="236440"/>
                      <a:pt x="622696" y="238722"/>
                    </a:cubicBezTo>
                    <a:cubicBezTo>
                      <a:pt x="603646" y="247850"/>
                      <a:pt x="580230" y="251819"/>
                      <a:pt x="567927" y="257772"/>
                    </a:cubicBezTo>
                    <a:cubicBezTo>
                      <a:pt x="561776" y="260749"/>
                      <a:pt x="558501" y="262733"/>
                      <a:pt x="556021" y="265065"/>
                    </a:cubicBezTo>
                    <a:lnTo>
                      <a:pt x="551077" y="271554"/>
                    </a:lnTo>
                    <a:lnTo>
                      <a:pt x="549266" y="267017"/>
                    </a:lnTo>
                    <a:cubicBezTo>
                      <a:pt x="537881" y="267017"/>
                      <a:pt x="532459" y="280056"/>
                      <a:pt x="527038" y="288748"/>
                    </a:cubicBezTo>
                    <a:lnTo>
                      <a:pt x="529206" y="289291"/>
                    </a:lnTo>
                    <a:cubicBezTo>
                      <a:pt x="527580" y="290378"/>
                      <a:pt x="525411" y="290378"/>
                      <a:pt x="522701" y="288748"/>
                    </a:cubicBezTo>
                    <a:cubicBezTo>
                      <a:pt x="521616" y="286575"/>
                      <a:pt x="521616" y="281685"/>
                      <a:pt x="521616" y="278969"/>
                    </a:cubicBezTo>
                    <a:cubicBezTo>
                      <a:pt x="518363" y="272450"/>
                      <a:pt x="520532" y="280599"/>
                      <a:pt x="518363" y="275709"/>
                    </a:cubicBezTo>
                    <a:cubicBezTo>
                      <a:pt x="515110" y="270277"/>
                      <a:pt x="520532" y="264844"/>
                      <a:pt x="512942" y="255608"/>
                    </a:cubicBezTo>
                    <a:cubicBezTo>
                      <a:pt x="508605" y="248546"/>
                      <a:pt x="500472" y="240397"/>
                      <a:pt x="498304" y="233878"/>
                    </a:cubicBezTo>
                    <a:lnTo>
                      <a:pt x="480955" y="244743"/>
                    </a:lnTo>
                    <a:cubicBezTo>
                      <a:pt x="480955" y="244743"/>
                      <a:pt x="482039" y="246916"/>
                      <a:pt x="478786" y="246916"/>
                    </a:cubicBezTo>
                    <a:cubicBezTo>
                      <a:pt x="477702" y="246916"/>
                      <a:pt x="478786" y="245830"/>
                      <a:pt x="478786" y="244743"/>
                    </a:cubicBezTo>
                    <a:cubicBezTo>
                      <a:pt x="470112" y="249632"/>
                      <a:pt x="461437" y="253435"/>
                      <a:pt x="451679" y="256152"/>
                    </a:cubicBezTo>
                    <a:cubicBezTo>
                      <a:pt x="424029" y="264301"/>
                      <a:pt x="415355" y="263214"/>
                      <a:pt x="387163" y="262128"/>
                    </a:cubicBezTo>
                    <a:cubicBezTo>
                      <a:pt x="381199" y="261041"/>
                      <a:pt x="371440" y="258868"/>
                      <a:pt x="364934" y="257781"/>
                    </a:cubicBezTo>
                    <a:cubicBezTo>
                      <a:pt x="358971" y="257781"/>
                      <a:pt x="361139" y="259955"/>
                      <a:pt x="360055" y="256695"/>
                    </a:cubicBezTo>
                    <a:cubicBezTo>
                      <a:pt x="353549" y="256695"/>
                      <a:pt x="350296" y="255065"/>
                      <a:pt x="343791" y="253979"/>
                    </a:cubicBezTo>
                    <a:lnTo>
                      <a:pt x="310719" y="246373"/>
                    </a:lnTo>
                    <a:cubicBezTo>
                      <a:pt x="304756" y="244200"/>
                      <a:pt x="299876" y="243113"/>
                      <a:pt x="294455" y="242027"/>
                    </a:cubicBezTo>
                    <a:lnTo>
                      <a:pt x="294896" y="245277"/>
                    </a:lnTo>
                    <a:lnTo>
                      <a:pt x="291702" y="243484"/>
                    </a:lnTo>
                    <a:cubicBezTo>
                      <a:pt x="280590" y="239118"/>
                      <a:pt x="275826" y="238722"/>
                      <a:pt x="267889" y="238722"/>
                    </a:cubicBezTo>
                    <a:cubicBezTo>
                      <a:pt x="259952" y="238722"/>
                      <a:pt x="252014" y="239912"/>
                      <a:pt x="244077" y="243484"/>
                    </a:cubicBezTo>
                    <a:cubicBezTo>
                      <a:pt x="236140" y="247056"/>
                      <a:pt x="235742" y="251025"/>
                      <a:pt x="220264" y="260153"/>
                    </a:cubicBezTo>
                    <a:cubicBezTo>
                      <a:pt x="216395" y="262435"/>
                      <a:pt x="211260" y="263948"/>
                      <a:pt x="205456" y="265436"/>
                    </a:cubicBezTo>
                    <a:lnTo>
                      <a:pt x="200557" y="266772"/>
                    </a:lnTo>
                    <a:lnTo>
                      <a:pt x="188439" y="264675"/>
                    </a:lnTo>
                    <a:cubicBezTo>
                      <a:pt x="174640" y="258359"/>
                      <a:pt x="175860" y="245015"/>
                      <a:pt x="164881" y="239310"/>
                    </a:cubicBezTo>
                    <a:cubicBezTo>
                      <a:pt x="162170" y="238767"/>
                      <a:pt x="158375" y="237681"/>
                      <a:pt x="157290" y="233334"/>
                    </a:cubicBezTo>
                    <a:cubicBezTo>
                      <a:pt x="151869" y="221382"/>
                      <a:pt x="149158" y="225729"/>
                      <a:pt x="143194" y="215950"/>
                    </a:cubicBezTo>
                    <a:cubicBezTo>
                      <a:pt x="131809" y="198022"/>
                      <a:pt x="125303" y="211060"/>
                      <a:pt x="116629" y="215950"/>
                    </a:cubicBezTo>
                    <a:lnTo>
                      <a:pt x="101449" y="231161"/>
                    </a:lnTo>
                    <a:lnTo>
                      <a:pt x="91556" y="236386"/>
                    </a:lnTo>
                    <a:lnTo>
                      <a:pt x="86766" y="222797"/>
                    </a:lnTo>
                    <a:cubicBezTo>
                      <a:pt x="82053" y="216299"/>
                      <a:pt x="75802" y="210743"/>
                      <a:pt x="70246" y="207766"/>
                    </a:cubicBezTo>
                    <a:cubicBezTo>
                      <a:pt x="64690" y="204790"/>
                      <a:pt x="59531" y="203103"/>
                      <a:pt x="52982" y="203004"/>
                    </a:cubicBezTo>
                    <a:lnTo>
                      <a:pt x="29006" y="207464"/>
                    </a:lnTo>
                    <a:lnTo>
                      <a:pt x="29546" y="202504"/>
                    </a:lnTo>
                    <a:cubicBezTo>
                      <a:pt x="30834" y="199923"/>
                      <a:pt x="33138" y="198022"/>
                      <a:pt x="36933" y="194762"/>
                    </a:cubicBezTo>
                    <a:cubicBezTo>
                      <a:pt x="42354" y="190959"/>
                      <a:pt x="44523" y="187156"/>
                      <a:pt x="47776" y="182267"/>
                    </a:cubicBezTo>
                    <a:cubicBezTo>
                      <a:pt x="53197" y="167599"/>
                      <a:pt x="51571" y="168685"/>
                      <a:pt x="53197" y="155103"/>
                    </a:cubicBezTo>
                    <a:cubicBezTo>
                      <a:pt x="54282" y="147498"/>
                      <a:pt x="53197" y="150214"/>
                      <a:pt x="51571" y="145325"/>
                    </a:cubicBezTo>
                    <a:cubicBezTo>
                      <a:pt x="48318" y="140978"/>
                      <a:pt x="51571" y="129027"/>
                      <a:pt x="45607" y="126853"/>
                    </a:cubicBezTo>
                    <a:cubicBezTo>
                      <a:pt x="40728" y="125224"/>
                      <a:pt x="44523" y="125767"/>
                      <a:pt x="40728" y="121964"/>
                    </a:cubicBezTo>
                    <a:cubicBezTo>
                      <a:pt x="32053" y="120877"/>
                      <a:pt x="32053" y="125767"/>
                      <a:pt x="21210" y="118704"/>
                    </a:cubicBezTo>
                    <a:cubicBezTo>
                      <a:pt x="15247" y="113815"/>
                      <a:pt x="21210" y="122507"/>
                      <a:pt x="16331" y="113815"/>
                    </a:cubicBezTo>
                    <a:cubicBezTo>
                      <a:pt x="10909" y="104579"/>
                      <a:pt x="-4271" y="96974"/>
                      <a:pt x="1151" y="82849"/>
                    </a:cubicBezTo>
                    <a:cubicBezTo>
                      <a:pt x="3862" y="77416"/>
                      <a:pt x="22295" y="71983"/>
                      <a:pt x="33138" y="77416"/>
                    </a:cubicBezTo>
                    <a:cubicBezTo>
                      <a:pt x="38559" y="80675"/>
                      <a:pt x="57535" y="92627"/>
                      <a:pt x="62956" y="90454"/>
                    </a:cubicBezTo>
                    <a:cubicBezTo>
                      <a:pt x="74883" y="85022"/>
                      <a:pt x="46691" y="67094"/>
                      <a:pt x="42896" y="68180"/>
                    </a:cubicBezTo>
                    <a:cubicBezTo>
                      <a:pt x="39644" y="68724"/>
                      <a:pt x="41812" y="67094"/>
                      <a:pt x="37475" y="62748"/>
                    </a:cubicBezTo>
                    <a:cubicBezTo>
                      <a:pt x="28800" y="54599"/>
                      <a:pt x="25548" y="39387"/>
                      <a:pt x="32053" y="28522"/>
                    </a:cubicBezTo>
                    <a:cubicBezTo>
                      <a:pt x="33138" y="26892"/>
                      <a:pt x="35306" y="27978"/>
                      <a:pt x="36933" y="28522"/>
                    </a:cubicBezTo>
                    <a:cubicBezTo>
                      <a:pt x="39101" y="30151"/>
                      <a:pt x="38017" y="32324"/>
                      <a:pt x="38017" y="34498"/>
                    </a:cubicBezTo>
                    <a:cubicBezTo>
                      <a:pt x="39101" y="43190"/>
                      <a:pt x="43439" y="44276"/>
                      <a:pt x="48860" y="49709"/>
                    </a:cubicBezTo>
                    <a:cubicBezTo>
                      <a:pt x="55366" y="54599"/>
                      <a:pt x="68378" y="60574"/>
                      <a:pt x="75968" y="63291"/>
                    </a:cubicBezTo>
                    <a:cubicBezTo>
                      <a:pt x="85726" y="67637"/>
                      <a:pt x="94943" y="53512"/>
                      <a:pt x="110123" y="56772"/>
                    </a:cubicBezTo>
                    <a:cubicBezTo>
                      <a:pt x="111208" y="57858"/>
                      <a:pt x="116087" y="58945"/>
                      <a:pt x="117171" y="58945"/>
                    </a:cubicBezTo>
                    <a:cubicBezTo>
                      <a:pt x="122593" y="58945"/>
                      <a:pt x="120424" y="61661"/>
                      <a:pt x="125846" y="63834"/>
                    </a:cubicBezTo>
                    <a:cubicBezTo>
                      <a:pt x="131809" y="67094"/>
                      <a:pt x="135062" y="61118"/>
                      <a:pt x="139399" y="57315"/>
                    </a:cubicBezTo>
                    <a:cubicBezTo>
                      <a:pt x="143194" y="53512"/>
                      <a:pt x="144821" y="53512"/>
                      <a:pt x="149158" y="50796"/>
                    </a:cubicBezTo>
                    <a:cubicBezTo>
                      <a:pt x="153495" y="46449"/>
                      <a:pt x="151869" y="38844"/>
                      <a:pt x="158375" y="38844"/>
                    </a:cubicBezTo>
                    <a:cubicBezTo>
                      <a:pt x="170302" y="38844"/>
                      <a:pt x="164881" y="42103"/>
                      <a:pt x="180061" y="27435"/>
                    </a:cubicBezTo>
                    <a:cubicBezTo>
                      <a:pt x="189820" y="18743"/>
                      <a:pt x="186024" y="16570"/>
                      <a:pt x="203373" y="13310"/>
                    </a:cubicBezTo>
                    <a:cubicBezTo>
                      <a:pt x="208795" y="13310"/>
                      <a:pt x="215301" y="9507"/>
                      <a:pt x="220722" y="10594"/>
                    </a:cubicBezTo>
                    <a:cubicBezTo>
                      <a:pt x="229397" y="11680"/>
                      <a:pt x="231565" y="14397"/>
                      <a:pt x="240782" y="14397"/>
                    </a:cubicBezTo>
                    <a:cubicBezTo>
                      <a:pt x="262468" y="14397"/>
                      <a:pt x="305840" y="12767"/>
                      <a:pt x="324273" y="7877"/>
                    </a:cubicBezTo>
                    <a:cubicBezTo>
                      <a:pt x="335116" y="4618"/>
                      <a:pt x="332948" y="3531"/>
                      <a:pt x="344875" y="3531"/>
                    </a:cubicBezTo>
                    <a:cubicBezTo>
                      <a:pt x="349212" y="3531"/>
                      <a:pt x="354634" y="2988"/>
                      <a:pt x="360055" y="2988"/>
                    </a:cubicBezTo>
                    <a:cubicBezTo>
                      <a:pt x="366561" y="2988"/>
                      <a:pt x="372525" y="3531"/>
                      <a:pt x="379030" y="1901"/>
                    </a:cubicBezTo>
                    <a:cubicBezTo>
                      <a:pt x="388789" y="-272"/>
                      <a:pt x="392042" y="1901"/>
                      <a:pt x="399632" y="815"/>
                    </a:cubicBezTo>
                    <a:cubicBezTo>
                      <a:pt x="403970" y="272"/>
                      <a:pt x="406680" y="0"/>
                      <a:pt x="409255" y="0"/>
                    </a:cubicBezTo>
                    <a:close/>
                  </a:path>
                </a:pathLst>
              </a:custGeom>
              <a:solidFill>
                <a:srgbClr val="6E3C1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0" name="Freeform: Shape 289">
                <a:extLst>
                  <a:ext uri="{FF2B5EF4-FFF2-40B4-BE49-F238E27FC236}">
                    <a16:creationId xmlns:a16="http://schemas.microsoft.com/office/drawing/2014/main" id="{D969AFDB-257F-4071-8A65-2042BC5B8F77}"/>
                  </a:ext>
                </a:extLst>
              </p:cNvPr>
              <p:cNvSpPr>
                <a:spLocks noChangeAspect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5066985" y="5162552"/>
                <a:ext cx="64489" cy="42417"/>
              </a:xfrm>
              <a:custGeom>
                <a:avLst/>
                <a:gdLst>
                  <a:gd name="connsiteX0" fmla="*/ 25915 w 64489"/>
                  <a:gd name="connsiteY0" fmla="*/ 0 h 42417"/>
                  <a:gd name="connsiteX1" fmla="*/ 43179 w 64489"/>
                  <a:gd name="connsiteY1" fmla="*/ 4762 h 42417"/>
                  <a:gd name="connsiteX2" fmla="*/ 59699 w 64489"/>
                  <a:gd name="connsiteY2" fmla="*/ 19793 h 42417"/>
                  <a:gd name="connsiteX3" fmla="*/ 64489 w 64489"/>
                  <a:gd name="connsiteY3" fmla="*/ 33382 h 42417"/>
                  <a:gd name="connsiteX4" fmla="*/ 64352 w 64489"/>
                  <a:gd name="connsiteY4" fmla="*/ 33454 h 42417"/>
                  <a:gd name="connsiteX5" fmla="*/ 52696 w 64489"/>
                  <a:gd name="connsiteY5" fmla="*/ 39566 h 42417"/>
                  <a:gd name="connsiteX6" fmla="*/ 3360 w 64489"/>
                  <a:gd name="connsiteY6" fmla="*/ 34677 h 42417"/>
                  <a:gd name="connsiteX7" fmla="*/ 1191 w 64489"/>
                  <a:gd name="connsiteY7" fmla="*/ 11316 h 42417"/>
                  <a:gd name="connsiteX8" fmla="*/ 1939 w 64489"/>
                  <a:gd name="connsiteY8" fmla="*/ 4460 h 42417"/>
                  <a:gd name="connsiteX9" fmla="*/ 25915 w 64489"/>
                  <a:gd name="connsiteY9" fmla="*/ 0 h 424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4489" h="42417">
                    <a:moveTo>
                      <a:pt x="25915" y="0"/>
                    </a:moveTo>
                    <a:cubicBezTo>
                      <a:pt x="32464" y="99"/>
                      <a:pt x="37623" y="1786"/>
                      <a:pt x="43179" y="4762"/>
                    </a:cubicBezTo>
                    <a:cubicBezTo>
                      <a:pt x="48735" y="7739"/>
                      <a:pt x="54986" y="13295"/>
                      <a:pt x="59699" y="19793"/>
                    </a:cubicBezTo>
                    <a:lnTo>
                      <a:pt x="64489" y="33382"/>
                    </a:lnTo>
                    <a:lnTo>
                      <a:pt x="64352" y="33454"/>
                    </a:lnTo>
                    <a:cubicBezTo>
                      <a:pt x="60015" y="35492"/>
                      <a:pt x="55407" y="37665"/>
                      <a:pt x="52696" y="39566"/>
                    </a:cubicBezTo>
                    <a:cubicBezTo>
                      <a:pt x="42937" y="44999"/>
                      <a:pt x="13119" y="42282"/>
                      <a:pt x="3360" y="34677"/>
                    </a:cubicBezTo>
                    <a:cubicBezTo>
                      <a:pt x="-2604" y="30330"/>
                      <a:pt x="1191" y="17835"/>
                      <a:pt x="1191" y="11316"/>
                    </a:cubicBezTo>
                    <a:lnTo>
                      <a:pt x="1939" y="4460"/>
                    </a:lnTo>
                    <a:lnTo>
                      <a:pt x="25915" y="0"/>
                    </a:ln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/>
              </a:p>
            </p:txBody>
          </p:sp>
          <p:grpSp>
            <p:nvGrpSpPr>
              <p:cNvPr id="291" name="Group 290">
                <a:extLst>
                  <a:ext uri="{FF2B5EF4-FFF2-40B4-BE49-F238E27FC236}">
                    <a16:creationId xmlns:a16="http://schemas.microsoft.com/office/drawing/2014/main" id="{422F7C70-D3F5-45BE-9F40-6CEE66BACC7E}"/>
                  </a:ext>
                </a:extLst>
              </p:cNvPr>
              <p:cNvGrpSpPr/>
              <p:nvPr/>
            </p:nvGrpSpPr>
            <p:grpSpPr>
              <a:xfrm>
                <a:off x="5102760" y="5091906"/>
                <a:ext cx="27432" cy="18288"/>
                <a:chOff x="3880384" y="5576888"/>
                <a:chExt cx="393660" cy="195262"/>
              </a:xfrm>
            </p:grpSpPr>
            <p:sp>
              <p:nvSpPr>
                <p:cNvPr id="297" name="Oval 296">
                  <a:extLst>
                    <a:ext uri="{FF2B5EF4-FFF2-40B4-BE49-F238E27FC236}">
                      <a16:creationId xmlns:a16="http://schemas.microsoft.com/office/drawing/2014/main" id="{CF75CDE3-0D7B-4DCA-B042-DFAA184CBF97}"/>
                    </a:ext>
                  </a:extLst>
                </p:cNvPr>
                <p:cNvSpPr/>
                <p:nvPr/>
              </p:nvSpPr>
              <p:spPr>
                <a:xfrm>
                  <a:off x="3880384" y="5576888"/>
                  <a:ext cx="393660" cy="195262"/>
                </a:xfrm>
                <a:prstGeom prst="ellipse">
                  <a:avLst/>
                </a:prstGeom>
                <a:solidFill>
                  <a:schemeClr val="tx1">
                    <a:lumMod val="95000"/>
                    <a:lumOff val="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98" name="Oval 297">
                  <a:extLst>
                    <a:ext uri="{FF2B5EF4-FFF2-40B4-BE49-F238E27FC236}">
                      <a16:creationId xmlns:a16="http://schemas.microsoft.com/office/drawing/2014/main" id="{A23E3E99-AF4E-44CF-8AC8-341B68ABD4ED}"/>
                    </a:ext>
                  </a:extLst>
                </p:cNvPr>
                <p:cNvSpPr/>
                <p:nvPr/>
              </p:nvSpPr>
              <p:spPr>
                <a:xfrm>
                  <a:off x="4159741" y="5641181"/>
                  <a:ext cx="66975" cy="66675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92" name="Group 291">
                <a:extLst>
                  <a:ext uri="{FF2B5EF4-FFF2-40B4-BE49-F238E27FC236}">
                    <a16:creationId xmlns:a16="http://schemas.microsoft.com/office/drawing/2014/main" id="{FDE9494C-1957-4CC9-BC8F-71F4F43084A5}"/>
                  </a:ext>
                </a:extLst>
              </p:cNvPr>
              <p:cNvGrpSpPr/>
              <p:nvPr/>
            </p:nvGrpSpPr>
            <p:grpSpPr>
              <a:xfrm>
                <a:off x="5150385" y="5096668"/>
                <a:ext cx="27432" cy="18288"/>
                <a:chOff x="3880384" y="5576888"/>
                <a:chExt cx="393660" cy="195262"/>
              </a:xfrm>
            </p:grpSpPr>
            <p:sp>
              <p:nvSpPr>
                <p:cNvPr id="295" name="Oval 294">
                  <a:extLst>
                    <a:ext uri="{FF2B5EF4-FFF2-40B4-BE49-F238E27FC236}">
                      <a16:creationId xmlns:a16="http://schemas.microsoft.com/office/drawing/2014/main" id="{AB010DBF-EF32-464B-A644-EAF30350FCB8}"/>
                    </a:ext>
                  </a:extLst>
                </p:cNvPr>
                <p:cNvSpPr/>
                <p:nvPr/>
              </p:nvSpPr>
              <p:spPr>
                <a:xfrm>
                  <a:off x="3880384" y="5576888"/>
                  <a:ext cx="393660" cy="195262"/>
                </a:xfrm>
                <a:prstGeom prst="ellipse">
                  <a:avLst/>
                </a:prstGeom>
                <a:solidFill>
                  <a:schemeClr val="tx1">
                    <a:lumMod val="95000"/>
                    <a:lumOff val="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96" name="Oval 295">
                  <a:extLst>
                    <a:ext uri="{FF2B5EF4-FFF2-40B4-BE49-F238E27FC236}">
                      <a16:creationId xmlns:a16="http://schemas.microsoft.com/office/drawing/2014/main" id="{4F51654F-93AD-4ED8-9C24-3176072D7D5E}"/>
                    </a:ext>
                  </a:extLst>
                </p:cNvPr>
                <p:cNvSpPr/>
                <p:nvPr/>
              </p:nvSpPr>
              <p:spPr>
                <a:xfrm>
                  <a:off x="4159741" y="5641181"/>
                  <a:ext cx="66975" cy="66675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293" name="Freeform: Shape 292">
                <a:extLst>
                  <a:ext uri="{FF2B5EF4-FFF2-40B4-BE49-F238E27FC236}">
                    <a16:creationId xmlns:a16="http://schemas.microsoft.com/office/drawing/2014/main" id="{3213FFF4-8E0A-4214-9EA4-0F7C84868156}"/>
                  </a:ext>
                </a:extLst>
              </p:cNvPr>
              <p:cNvSpPr/>
              <p:nvPr/>
            </p:nvSpPr>
            <p:spPr>
              <a:xfrm>
                <a:off x="5560991" y="5185249"/>
                <a:ext cx="128582" cy="207139"/>
              </a:xfrm>
              <a:custGeom>
                <a:avLst/>
                <a:gdLst>
                  <a:gd name="connsiteX0" fmla="*/ 118870 w 128582"/>
                  <a:gd name="connsiteY0" fmla="*/ 0 h 207139"/>
                  <a:gd name="connsiteX1" fmla="*/ 120358 w 128582"/>
                  <a:gd name="connsiteY1" fmla="*/ 12523 h 207139"/>
                  <a:gd name="connsiteX2" fmla="*/ 126864 w 128582"/>
                  <a:gd name="connsiteY2" fmla="*/ 52181 h 207139"/>
                  <a:gd name="connsiteX3" fmla="*/ 121442 w 128582"/>
                  <a:gd name="connsiteY3" fmla="*/ 32624 h 207139"/>
                  <a:gd name="connsiteX4" fmla="*/ 117105 w 128582"/>
                  <a:gd name="connsiteY4" fmla="*/ 50008 h 207139"/>
                  <a:gd name="connsiteX5" fmla="*/ 124153 w 128582"/>
                  <a:gd name="connsiteY5" fmla="*/ 92927 h 207139"/>
                  <a:gd name="connsiteX6" fmla="*/ 124153 w 128582"/>
                  <a:gd name="connsiteY6" fmla="*/ 102706 h 207139"/>
                  <a:gd name="connsiteX7" fmla="*/ 126864 w 128582"/>
                  <a:gd name="connsiteY7" fmla="*/ 111941 h 207139"/>
                  <a:gd name="connsiteX8" fmla="*/ 121442 w 128582"/>
                  <a:gd name="connsiteY8" fmla="*/ 94013 h 207139"/>
                  <a:gd name="connsiteX9" fmla="*/ 118189 w 128582"/>
                  <a:gd name="connsiteY9" fmla="*/ 85321 h 207139"/>
                  <a:gd name="connsiteX10" fmla="*/ 117105 w 128582"/>
                  <a:gd name="connsiteY10" fmla="*/ 73369 h 207139"/>
                  <a:gd name="connsiteX11" fmla="*/ 114394 w 128582"/>
                  <a:gd name="connsiteY11" fmla="*/ 77715 h 207139"/>
                  <a:gd name="connsiteX12" fmla="*/ 114394 w 128582"/>
                  <a:gd name="connsiteY12" fmla="*/ 63047 h 207139"/>
                  <a:gd name="connsiteX13" fmla="*/ 112225 w 128582"/>
                  <a:gd name="connsiteY13" fmla="*/ 73369 h 207139"/>
                  <a:gd name="connsiteX14" fmla="*/ 113310 w 128582"/>
                  <a:gd name="connsiteY14" fmla="*/ 94013 h 207139"/>
                  <a:gd name="connsiteX15" fmla="*/ 116563 w 128582"/>
                  <a:gd name="connsiteY15" fmla="*/ 102706 h 207139"/>
                  <a:gd name="connsiteX16" fmla="*/ 107888 w 128582"/>
                  <a:gd name="connsiteY16" fmla="*/ 86407 h 207139"/>
                  <a:gd name="connsiteX17" fmla="*/ 105720 w 128582"/>
                  <a:gd name="connsiteY17" fmla="*/ 96730 h 207139"/>
                  <a:gd name="connsiteX18" fmla="*/ 101382 w 128582"/>
                  <a:gd name="connsiteY18" fmla="*/ 123893 h 207139"/>
                  <a:gd name="connsiteX19" fmla="*/ 102467 w 128582"/>
                  <a:gd name="connsiteY19" fmla="*/ 138561 h 207139"/>
                  <a:gd name="connsiteX20" fmla="*/ 102467 w 128582"/>
                  <a:gd name="connsiteY20" fmla="*/ 145624 h 207139"/>
                  <a:gd name="connsiteX21" fmla="*/ 102467 w 128582"/>
                  <a:gd name="connsiteY21" fmla="*/ 159749 h 207139"/>
                  <a:gd name="connsiteX22" fmla="*/ 105720 w 128582"/>
                  <a:gd name="connsiteY22" fmla="*/ 172244 h 207139"/>
                  <a:gd name="connsiteX23" fmla="*/ 94877 w 128582"/>
                  <a:gd name="connsiteY23" fmla="*/ 182023 h 207139"/>
                  <a:gd name="connsiteX24" fmla="*/ 97045 w 128582"/>
                  <a:gd name="connsiteY24" fmla="*/ 188542 h 207139"/>
                  <a:gd name="connsiteX25" fmla="*/ 94877 w 128582"/>
                  <a:gd name="connsiteY25" fmla="*/ 200494 h 207139"/>
                  <a:gd name="connsiteX26" fmla="*/ 67227 w 128582"/>
                  <a:gd name="connsiteY26" fmla="*/ 205384 h 207139"/>
                  <a:gd name="connsiteX27" fmla="*/ 61263 w 128582"/>
                  <a:gd name="connsiteY27" fmla="*/ 203211 h 207139"/>
                  <a:gd name="connsiteX28" fmla="*/ 47709 w 128582"/>
                  <a:gd name="connsiteY28" fmla="*/ 191802 h 207139"/>
                  <a:gd name="connsiteX29" fmla="*/ 48794 w 128582"/>
                  <a:gd name="connsiteY29" fmla="*/ 189629 h 207139"/>
                  <a:gd name="connsiteX30" fmla="*/ 50962 w 128582"/>
                  <a:gd name="connsiteY30" fmla="*/ 189629 h 207139"/>
                  <a:gd name="connsiteX31" fmla="*/ 52589 w 128582"/>
                  <a:gd name="connsiteY31" fmla="*/ 186369 h 207139"/>
                  <a:gd name="connsiteX32" fmla="*/ 54757 w 128582"/>
                  <a:gd name="connsiteY32" fmla="*/ 184739 h 207139"/>
                  <a:gd name="connsiteX33" fmla="*/ 64516 w 128582"/>
                  <a:gd name="connsiteY33" fmla="*/ 168985 h 207139"/>
                  <a:gd name="connsiteX34" fmla="*/ 66685 w 128582"/>
                  <a:gd name="connsiteY34" fmla="*/ 167355 h 207139"/>
                  <a:gd name="connsiteX35" fmla="*/ 79154 w 128582"/>
                  <a:gd name="connsiteY35" fmla="*/ 114658 h 207139"/>
                  <a:gd name="connsiteX36" fmla="*/ 82949 w 128582"/>
                  <a:gd name="connsiteY36" fmla="*/ 100533 h 207139"/>
                  <a:gd name="connsiteX37" fmla="*/ 72106 w 128582"/>
                  <a:gd name="connsiteY37" fmla="*/ 58701 h 207139"/>
                  <a:gd name="connsiteX38" fmla="*/ 65600 w 128582"/>
                  <a:gd name="connsiteY38" fmla="*/ 71196 h 207139"/>
                  <a:gd name="connsiteX39" fmla="*/ 61263 w 128582"/>
                  <a:gd name="connsiteY39" fmla="*/ 78258 h 207139"/>
                  <a:gd name="connsiteX40" fmla="*/ 58552 w 128582"/>
                  <a:gd name="connsiteY40" fmla="*/ 83148 h 207139"/>
                  <a:gd name="connsiteX41" fmla="*/ 53131 w 128582"/>
                  <a:gd name="connsiteY41" fmla="*/ 110311 h 207139"/>
                  <a:gd name="connsiteX42" fmla="*/ 52047 w 128582"/>
                  <a:gd name="connsiteY42" fmla="*/ 116831 h 207139"/>
                  <a:gd name="connsiteX43" fmla="*/ 47167 w 128582"/>
                  <a:gd name="connsiteY43" fmla="*/ 115744 h 207139"/>
                  <a:gd name="connsiteX44" fmla="*/ 35782 w 128582"/>
                  <a:gd name="connsiteY44" fmla="*/ 126609 h 207139"/>
                  <a:gd name="connsiteX45" fmla="*/ 27650 w 128582"/>
                  <a:gd name="connsiteY45" fmla="*/ 129326 h 207139"/>
                  <a:gd name="connsiteX46" fmla="*/ 0 w 128582"/>
                  <a:gd name="connsiteY46" fmla="*/ 124436 h 207139"/>
                  <a:gd name="connsiteX47" fmla="*/ 2169 w 128582"/>
                  <a:gd name="connsiteY47" fmla="*/ 116831 h 207139"/>
                  <a:gd name="connsiteX48" fmla="*/ 3795 w 128582"/>
                  <a:gd name="connsiteY48" fmla="*/ 113571 h 207139"/>
                  <a:gd name="connsiteX49" fmla="*/ 3795 w 128582"/>
                  <a:gd name="connsiteY49" fmla="*/ 110855 h 207139"/>
                  <a:gd name="connsiteX50" fmla="*/ 7048 w 128582"/>
                  <a:gd name="connsiteY50" fmla="*/ 113571 h 207139"/>
                  <a:gd name="connsiteX51" fmla="*/ 20060 w 128582"/>
                  <a:gd name="connsiteY51" fmla="*/ 103792 h 207139"/>
                  <a:gd name="connsiteX52" fmla="*/ 29276 w 128582"/>
                  <a:gd name="connsiteY52" fmla="*/ 93470 h 207139"/>
                  <a:gd name="connsiteX53" fmla="*/ 42288 w 128582"/>
                  <a:gd name="connsiteY53" fmla="*/ 62504 h 207139"/>
                  <a:gd name="connsiteX54" fmla="*/ 35782 w 128582"/>
                  <a:gd name="connsiteY54" fmla="*/ 46206 h 207139"/>
                  <a:gd name="connsiteX55" fmla="*/ 30361 w 128582"/>
                  <a:gd name="connsiteY55" fmla="*/ 46749 h 207139"/>
                  <a:gd name="connsiteX56" fmla="*/ 30003 w 128582"/>
                  <a:gd name="connsiteY56" fmla="*/ 45853 h 207139"/>
                  <a:gd name="connsiteX57" fmla="*/ 34947 w 128582"/>
                  <a:gd name="connsiteY57" fmla="*/ 39364 h 207139"/>
                  <a:gd name="connsiteX58" fmla="*/ 46853 w 128582"/>
                  <a:gd name="connsiteY58" fmla="*/ 32071 h 207139"/>
                  <a:gd name="connsiteX59" fmla="*/ 101622 w 128582"/>
                  <a:gd name="connsiteY59" fmla="*/ 13021 h 207139"/>
                  <a:gd name="connsiteX60" fmla="*/ 116784 w 128582"/>
                  <a:gd name="connsiteY60" fmla="*/ 1915 h 207139"/>
                  <a:gd name="connsiteX61" fmla="*/ 118870 w 128582"/>
                  <a:gd name="connsiteY61" fmla="*/ 0 h 207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</a:cxnLst>
                <a:rect l="l" t="t" r="r" b="b"/>
                <a:pathLst>
                  <a:path w="128582" h="207139">
                    <a:moveTo>
                      <a:pt x="118870" y="0"/>
                    </a:moveTo>
                    <a:lnTo>
                      <a:pt x="120358" y="12523"/>
                    </a:lnTo>
                    <a:cubicBezTo>
                      <a:pt x="121442" y="30451"/>
                      <a:pt x="132827" y="44576"/>
                      <a:pt x="126864" y="52181"/>
                    </a:cubicBezTo>
                    <a:cubicBezTo>
                      <a:pt x="123611" y="47292"/>
                      <a:pt x="130116" y="44576"/>
                      <a:pt x="121442" y="32624"/>
                    </a:cubicBezTo>
                    <a:cubicBezTo>
                      <a:pt x="122526" y="42403"/>
                      <a:pt x="116563" y="41316"/>
                      <a:pt x="117105" y="50008"/>
                    </a:cubicBezTo>
                    <a:cubicBezTo>
                      <a:pt x="121984" y="73369"/>
                      <a:pt x="123068" y="64677"/>
                      <a:pt x="124153" y="92927"/>
                    </a:cubicBezTo>
                    <a:lnTo>
                      <a:pt x="124153" y="102706"/>
                    </a:lnTo>
                    <a:cubicBezTo>
                      <a:pt x="125779" y="107052"/>
                      <a:pt x="126864" y="104335"/>
                      <a:pt x="126864" y="111941"/>
                    </a:cubicBezTo>
                    <a:cubicBezTo>
                      <a:pt x="121442" y="110311"/>
                      <a:pt x="121442" y="98903"/>
                      <a:pt x="121442" y="94013"/>
                    </a:cubicBezTo>
                    <a:cubicBezTo>
                      <a:pt x="121442" y="90210"/>
                      <a:pt x="119273" y="88037"/>
                      <a:pt x="118189" y="85321"/>
                    </a:cubicBezTo>
                    <a:cubicBezTo>
                      <a:pt x="117105" y="80975"/>
                      <a:pt x="117105" y="77715"/>
                      <a:pt x="117105" y="73369"/>
                    </a:cubicBezTo>
                    <a:cubicBezTo>
                      <a:pt x="115478" y="78802"/>
                      <a:pt x="118189" y="75542"/>
                      <a:pt x="114394" y="77715"/>
                    </a:cubicBezTo>
                    <a:cubicBezTo>
                      <a:pt x="114394" y="68480"/>
                      <a:pt x="117105" y="71196"/>
                      <a:pt x="114394" y="63047"/>
                    </a:cubicBezTo>
                    <a:cubicBezTo>
                      <a:pt x="114394" y="67936"/>
                      <a:pt x="112225" y="69566"/>
                      <a:pt x="112225" y="73369"/>
                    </a:cubicBezTo>
                    <a:cubicBezTo>
                      <a:pt x="112225" y="79888"/>
                      <a:pt x="110057" y="87494"/>
                      <a:pt x="113310" y="94013"/>
                    </a:cubicBezTo>
                    <a:cubicBezTo>
                      <a:pt x="115478" y="96730"/>
                      <a:pt x="118189" y="99446"/>
                      <a:pt x="116563" y="102706"/>
                    </a:cubicBezTo>
                    <a:cubicBezTo>
                      <a:pt x="114394" y="101619"/>
                      <a:pt x="108973" y="87494"/>
                      <a:pt x="107888" y="86407"/>
                    </a:cubicBezTo>
                    <a:cubicBezTo>
                      <a:pt x="105720" y="89124"/>
                      <a:pt x="107888" y="92927"/>
                      <a:pt x="105720" y="96730"/>
                    </a:cubicBezTo>
                    <a:cubicBezTo>
                      <a:pt x="103551" y="105422"/>
                      <a:pt x="103551" y="115201"/>
                      <a:pt x="101382" y="123893"/>
                    </a:cubicBezTo>
                    <a:cubicBezTo>
                      <a:pt x="100840" y="128239"/>
                      <a:pt x="101382" y="135845"/>
                      <a:pt x="102467" y="138561"/>
                    </a:cubicBezTo>
                    <a:lnTo>
                      <a:pt x="102467" y="145624"/>
                    </a:lnTo>
                    <a:cubicBezTo>
                      <a:pt x="101382" y="148884"/>
                      <a:pt x="102467" y="154316"/>
                      <a:pt x="102467" y="159749"/>
                    </a:cubicBezTo>
                    <a:cubicBezTo>
                      <a:pt x="102467" y="168985"/>
                      <a:pt x="102467" y="165725"/>
                      <a:pt x="105720" y="172244"/>
                    </a:cubicBezTo>
                    <a:cubicBezTo>
                      <a:pt x="108973" y="180936"/>
                      <a:pt x="92708" y="174417"/>
                      <a:pt x="94877" y="182023"/>
                    </a:cubicBezTo>
                    <a:cubicBezTo>
                      <a:pt x="95961" y="184739"/>
                      <a:pt x="95961" y="183653"/>
                      <a:pt x="97045" y="188542"/>
                    </a:cubicBezTo>
                    <a:cubicBezTo>
                      <a:pt x="98130" y="193432"/>
                      <a:pt x="99214" y="196148"/>
                      <a:pt x="94877" y="200494"/>
                    </a:cubicBezTo>
                    <a:cubicBezTo>
                      <a:pt x="87286" y="207557"/>
                      <a:pt x="76443" y="208643"/>
                      <a:pt x="67227" y="205384"/>
                    </a:cubicBezTo>
                    <a:cubicBezTo>
                      <a:pt x="60179" y="204297"/>
                      <a:pt x="64516" y="205384"/>
                      <a:pt x="61263" y="203211"/>
                    </a:cubicBezTo>
                    <a:cubicBezTo>
                      <a:pt x="58552" y="201581"/>
                      <a:pt x="42288" y="198321"/>
                      <a:pt x="47709" y="191802"/>
                    </a:cubicBezTo>
                    <a:lnTo>
                      <a:pt x="48794" y="189629"/>
                    </a:lnTo>
                    <a:cubicBezTo>
                      <a:pt x="52047" y="186369"/>
                      <a:pt x="48794" y="190715"/>
                      <a:pt x="50962" y="189629"/>
                    </a:cubicBezTo>
                    <a:cubicBezTo>
                      <a:pt x="52589" y="186369"/>
                      <a:pt x="52047" y="187456"/>
                      <a:pt x="52589" y="186369"/>
                    </a:cubicBezTo>
                    <a:cubicBezTo>
                      <a:pt x="52589" y="184739"/>
                      <a:pt x="52589" y="185283"/>
                      <a:pt x="54757" y="184739"/>
                    </a:cubicBezTo>
                    <a:cubicBezTo>
                      <a:pt x="58010" y="182023"/>
                      <a:pt x="63432" y="172244"/>
                      <a:pt x="64516" y="168985"/>
                    </a:cubicBezTo>
                    <a:cubicBezTo>
                      <a:pt x="66685" y="165182"/>
                      <a:pt x="64516" y="167355"/>
                      <a:pt x="66685" y="167355"/>
                    </a:cubicBezTo>
                    <a:cubicBezTo>
                      <a:pt x="74275" y="149427"/>
                      <a:pt x="78070" y="134215"/>
                      <a:pt x="79154" y="114658"/>
                    </a:cubicBezTo>
                    <a:cubicBezTo>
                      <a:pt x="80239" y="108682"/>
                      <a:pt x="81323" y="106508"/>
                      <a:pt x="82949" y="100533"/>
                    </a:cubicBezTo>
                    <a:cubicBezTo>
                      <a:pt x="78612" y="84778"/>
                      <a:pt x="77528" y="73912"/>
                      <a:pt x="72106" y="58701"/>
                    </a:cubicBezTo>
                    <a:lnTo>
                      <a:pt x="65600" y="71196"/>
                    </a:lnTo>
                    <a:cubicBezTo>
                      <a:pt x="63432" y="73912"/>
                      <a:pt x="63432" y="74999"/>
                      <a:pt x="61263" y="78258"/>
                    </a:cubicBezTo>
                    <a:cubicBezTo>
                      <a:pt x="61263" y="80975"/>
                      <a:pt x="60721" y="78258"/>
                      <a:pt x="58552" y="83148"/>
                    </a:cubicBezTo>
                    <a:cubicBezTo>
                      <a:pt x="54215" y="95643"/>
                      <a:pt x="51504" y="97273"/>
                      <a:pt x="53131" y="110311"/>
                    </a:cubicBezTo>
                    <a:cubicBezTo>
                      <a:pt x="54215" y="114658"/>
                      <a:pt x="50420" y="111941"/>
                      <a:pt x="52047" y="116831"/>
                    </a:cubicBezTo>
                    <a:lnTo>
                      <a:pt x="47167" y="115744"/>
                    </a:lnTo>
                    <a:cubicBezTo>
                      <a:pt x="36324" y="131499"/>
                      <a:pt x="40661" y="123350"/>
                      <a:pt x="35782" y="126609"/>
                    </a:cubicBezTo>
                    <a:cubicBezTo>
                      <a:pt x="30903" y="130412"/>
                      <a:pt x="35782" y="129326"/>
                      <a:pt x="27650" y="129326"/>
                    </a:cubicBezTo>
                    <a:cubicBezTo>
                      <a:pt x="13554" y="129869"/>
                      <a:pt x="10843" y="125523"/>
                      <a:pt x="0" y="124436"/>
                    </a:cubicBezTo>
                    <a:cubicBezTo>
                      <a:pt x="1084" y="123350"/>
                      <a:pt x="1084" y="120090"/>
                      <a:pt x="2169" y="116831"/>
                    </a:cubicBezTo>
                    <a:cubicBezTo>
                      <a:pt x="2169" y="116831"/>
                      <a:pt x="7048" y="119004"/>
                      <a:pt x="3795" y="113571"/>
                    </a:cubicBezTo>
                    <a:lnTo>
                      <a:pt x="3795" y="110855"/>
                    </a:lnTo>
                    <a:lnTo>
                      <a:pt x="7048" y="113571"/>
                    </a:lnTo>
                    <a:cubicBezTo>
                      <a:pt x="13012" y="109768"/>
                      <a:pt x="14096" y="107052"/>
                      <a:pt x="20060" y="103792"/>
                    </a:cubicBezTo>
                    <a:cubicBezTo>
                      <a:pt x="25481" y="99989"/>
                      <a:pt x="25481" y="98903"/>
                      <a:pt x="29276" y="93470"/>
                    </a:cubicBezTo>
                    <a:cubicBezTo>
                      <a:pt x="34698" y="83691"/>
                      <a:pt x="39035" y="72826"/>
                      <a:pt x="42288" y="62504"/>
                    </a:cubicBezTo>
                    <a:cubicBezTo>
                      <a:pt x="31445" y="54898"/>
                      <a:pt x="39577" y="56528"/>
                      <a:pt x="35782" y="46206"/>
                    </a:cubicBezTo>
                    <a:cubicBezTo>
                      <a:pt x="33613" y="46749"/>
                      <a:pt x="35782" y="48922"/>
                      <a:pt x="30361" y="46749"/>
                    </a:cubicBezTo>
                    <a:lnTo>
                      <a:pt x="30003" y="45853"/>
                    </a:lnTo>
                    <a:lnTo>
                      <a:pt x="34947" y="39364"/>
                    </a:lnTo>
                    <a:cubicBezTo>
                      <a:pt x="37427" y="37032"/>
                      <a:pt x="40702" y="35048"/>
                      <a:pt x="46853" y="32071"/>
                    </a:cubicBezTo>
                    <a:cubicBezTo>
                      <a:pt x="59156" y="26118"/>
                      <a:pt x="82572" y="22149"/>
                      <a:pt x="101622" y="13021"/>
                    </a:cubicBezTo>
                    <a:cubicBezTo>
                      <a:pt x="106385" y="10739"/>
                      <a:pt x="111519" y="6622"/>
                      <a:pt x="116784" y="1915"/>
                    </a:cubicBezTo>
                    <a:lnTo>
                      <a:pt x="118870" y="0"/>
                    </a:lnTo>
                    <a:close/>
                  </a:path>
                </a:pathLst>
              </a:custGeom>
              <a:solidFill>
                <a:srgbClr val="9E6C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4" name="Freeform: Shape 293">
                <a:extLst>
                  <a:ext uri="{FF2B5EF4-FFF2-40B4-BE49-F238E27FC236}">
                    <a16:creationId xmlns:a16="http://schemas.microsoft.com/office/drawing/2014/main" id="{2A2DBE36-3B0A-45B0-8637-A39E086412C6}"/>
                  </a:ext>
                </a:extLst>
              </p:cNvPr>
              <p:cNvSpPr/>
              <p:nvPr/>
            </p:nvSpPr>
            <p:spPr>
              <a:xfrm>
                <a:off x="5214556" y="5198270"/>
                <a:ext cx="139520" cy="158421"/>
              </a:xfrm>
              <a:custGeom>
                <a:avLst/>
                <a:gdLst>
                  <a:gd name="connsiteX0" fmla="*/ 93250 w 139520"/>
                  <a:gd name="connsiteY0" fmla="*/ 0 h 158421"/>
                  <a:gd name="connsiteX1" fmla="*/ 117063 w 139520"/>
                  <a:gd name="connsiteY1" fmla="*/ 4762 h 158421"/>
                  <a:gd name="connsiteX2" fmla="*/ 120257 w 139520"/>
                  <a:gd name="connsiteY2" fmla="*/ 6555 h 158421"/>
                  <a:gd name="connsiteX3" fmla="*/ 120968 w 139520"/>
                  <a:gd name="connsiteY3" fmla="*/ 11793 h 158421"/>
                  <a:gd name="connsiteX4" fmla="*/ 122527 w 139520"/>
                  <a:gd name="connsiteY4" fmla="*/ 20689 h 158421"/>
                  <a:gd name="connsiteX5" fmla="*/ 125779 w 139520"/>
                  <a:gd name="connsiteY5" fmla="*/ 56545 h 158421"/>
                  <a:gd name="connsiteX6" fmla="*/ 126864 w 139520"/>
                  <a:gd name="connsiteY6" fmla="*/ 71757 h 158421"/>
                  <a:gd name="connsiteX7" fmla="*/ 136622 w 139520"/>
                  <a:gd name="connsiteY7" fmla="*/ 112502 h 158421"/>
                  <a:gd name="connsiteX8" fmla="*/ 137707 w 139520"/>
                  <a:gd name="connsiteY8" fmla="*/ 119021 h 158421"/>
                  <a:gd name="connsiteX9" fmla="*/ 137707 w 139520"/>
                  <a:gd name="connsiteY9" fmla="*/ 133689 h 158421"/>
                  <a:gd name="connsiteX10" fmla="*/ 131743 w 139520"/>
                  <a:gd name="connsiteY10" fmla="*/ 129887 h 158421"/>
                  <a:gd name="connsiteX11" fmla="*/ 130659 w 139520"/>
                  <a:gd name="connsiteY11" fmla="*/ 129887 h 158421"/>
                  <a:gd name="connsiteX12" fmla="*/ 130659 w 139520"/>
                  <a:gd name="connsiteY12" fmla="*/ 148901 h 158421"/>
                  <a:gd name="connsiteX13" fmla="*/ 126864 w 139520"/>
                  <a:gd name="connsiteY13" fmla="*/ 154334 h 158421"/>
                  <a:gd name="connsiteX14" fmla="*/ 124695 w 139520"/>
                  <a:gd name="connsiteY14" fmla="*/ 153247 h 158421"/>
                  <a:gd name="connsiteX15" fmla="*/ 121984 w 139520"/>
                  <a:gd name="connsiteY15" fmla="*/ 158137 h 158421"/>
                  <a:gd name="connsiteX16" fmla="*/ 102467 w 139520"/>
                  <a:gd name="connsiteY16" fmla="*/ 158137 h 158421"/>
                  <a:gd name="connsiteX17" fmla="*/ 91624 w 139520"/>
                  <a:gd name="connsiteY17" fmla="*/ 143468 h 158421"/>
                  <a:gd name="connsiteX18" fmla="*/ 95961 w 139520"/>
                  <a:gd name="connsiteY18" fmla="*/ 138579 h 158421"/>
                  <a:gd name="connsiteX19" fmla="*/ 98672 w 139520"/>
                  <a:gd name="connsiteY19" fmla="*/ 136406 h 158421"/>
                  <a:gd name="connsiteX20" fmla="*/ 104636 w 139520"/>
                  <a:gd name="connsiteY20" fmla="*/ 127713 h 158421"/>
                  <a:gd name="connsiteX21" fmla="*/ 106262 w 139520"/>
                  <a:gd name="connsiteY21" fmla="*/ 80449 h 158421"/>
                  <a:gd name="connsiteX22" fmla="*/ 104636 w 139520"/>
                  <a:gd name="connsiteY22" fmla="*/ 78276 h 158421"/>
                  <a:gd name="connsiteX23" fmla="*/ 104636 w 139520"/>
                  <a:gd name="connsiteY23" fmla="*/ 76103 h 158421"/>
                  <a:gd name="connsiteX24" fmla="*/ 100298 w 139520"/>
                  <a:gd name="connsiteY24" fmla="*/ 73386 h 158421"/>
                  <a:gd name="connsiteX25" fmla="*/ 100298 w 139520"/>
                  <a:gd name="connsiteY25" fmla="*/ 71213 h 158421"/>
                  <a:gd name="connsiteX26" fmla="*/ 91624 w 139520"/>
                  <a:gd name="connsiteY26" fmla="*/ 61435 h 158421"/>
                  <a:gd name="connsiteX27" fmla="*/ 80239 w 139520"/>
                  <a:gd name="connsiteY27" fmla="*/ 30468 h 158421"/>
                  <a:gd name="connsiteX28" fmla="*/ 78070 w 139520"/>
                  <a:gd name="connsiteY28" fmla="*/ 23949 h 158421"/>
                  <a:gd name="connsiteX29" fmla="*/ 73733 w 139520"/>
                  <a:gd name="connsiteY29" fmla="*/ 16343 h 158421"/>
                  <a:gd name="connsiteX30" fmla="*/ 71022 w 139520"/>
                  <a:gd name="connsiteY30" fmla="*/ 29925 h 158421"/>
                  <a:gd name="connsiteX31" fmla="*/ 68854 w 139520"/>
                  <a:gd name="connsiteY31" fmla="*/ 36444 h 158421"/>
                  <a:gd name="connsiteX32" fmla="*/ 68854 w 139520"/>
                  <a:gd name="connsiteY32" fmla="*/ 37531 h 158421"/>
                  <a:gd name="connsiteX33" fmla="*/ 66685 w 139520"/>
                  <a:gd name="connsiteY33" fmla="*/ 45136 h 158421"/>
                  <a:gd name="connsiteX34" fmla="*/ 61806 w 139520"/>
                  <a:gd name="connsiteY34" fmla="*/ 61435 h 158421"/>
                  <a:gd name="connsiteX35" fmla="*/ 60721 w 139520"/>
                  <a:gd name="connsiteY35" fmla="*/ 70127 h 158421"/>
                  <a:gd name="connsiteX36" fmla="*/ 57468 w 139520"/>
                  <a:gd name="connsiteY36" fmla="*/ 85338 h 158421"/>
                  <a:gd name="connsiteX37" fmla="*/ 56926 w 139520"/>
                  <a:gd name="connsiteY37" fmla="*/ 103810 h 158421"/>
                  <a:gd name="connsiteX38" fmla="*/ 54758 w 139520"/>
                  <a:gd name="connsiteY38" fmla="*/ 118478 h 158421"/>
                  <a:gd name="connsiteX39" fmla="*/ 47167 w 139520"/>
                  <a:gd name="connsiteY39" fmla="*/ 122824 h 158421"/>
                  <a:gd name="connsiteX40" fmla="*/ 44999 w 139520"/>
                  <a:gd name="connsiteY40" fmla="*/ 123367 h 158421"/>
                  <a:gd name="connsiteX41" fmla="*/ 43915 w 139520"/>
                  <a:gd name="connsiteY41" fmla="*/ 124454 h 158421"/>
                  <a:gd name="connsiteX42" fmla="*/ 42830 w 139520"/>
                  <a:gd name="connsiteY42" fmla="*/ 136406 h 158421"/>
                  <a:gd name="connsiteX43" fmla="*/ 39035 w 139520"/>
                  <a:gd name="connsiteY43" fmla="*/ 141295 h 158421"/>
                  <a:gd name="connsiteX44" fmla="*/ 16265 w 139520"/>
                  <a:gd name="connsiteY44" fmla="*/ 142382 h 158421"/>
                  <a:gd name="connsiteX45" fmla="*/ 0 w 139520"/>
                  <a:gd name="connsiteY45" fmla="*/ 135863 h 158421"/>
                  <a:gd name="connsiteX46" fmla="*/ 7048 w 139520"/>
                  <a:gd name="connsiteY46" fmla="*/ 130430 h 158421"/>
                  <a:gd name="connsiteX47" fmla="*/ 8133 w 139520"/>
                  <a:gd name="connsiteY47" fmla="*/ 129343 h 158421"/>
                  <a:gd name="connsiteX48" fmla="*/ 15723 w 139520"/>
                  <a:gd name="connsiteY48" fmla="*/ 121738 h 158421"/>
                  <a:gd name="connsiteX49" fmla="*/ 20602 w 139520"/>
                  <a:gd name="connsiteY49" fmla="*/ 116305 h 158421"/>
                  <a:gd name="connsiteX50" fmla="*/ 37951 w 139520"/>
                  <a:gd name="connsiteY50" fmla="*/ 64151 h 158421"/>
                  <a:gd name="connsiteX51" fmla="*/ 33614 w 139520"/>
                  <a:gd name="connsiteY51" fmla="*/ 29382 h 158421"/>
                  <a:gd name="connsiteX52" fmla="*/ 25918 w 139520"/>
                  <a:gd name="connsiteY52" fmla="*/ 28050 h 158421"/>
                  <a:gd name="connsiteX53" fmla="*/ 30817 w 139520"/>
                  <a:gd name="connsiteY53" fmla="*/ 26714 h 158421"/>
                  <a:gd name="connsiteX54" fmla="*/ 45625 w 139520"/>
                  <a:gd name="connsiteY54" fmla="*/ 21431 h 158421"/>
                  <a:gd name="connsiteX55" fmla="*/ 69438 w 139520"/>
                  <a:gd name="connsiteY55" fmla="*/ 4762 h 158421"/>
                  <a:gd name="connsiteX56" fmla="*/ 93250 w 139520"/>
                  <a:gd name="connsiteY56" fmla="*/ 0 h 1584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139520" h="158421">
                    <a:moveTo>
                      <a:pt x="93250" y="0"/>
                    </a:moveTo>
                    <a:cubicBezTo>
                      <a:pt x="101187" y="0"/>
                      <a:pt x="105951" y="396"/>
                      <a:pt x="117063" y="4762"/>
                    </a:cubicBezTo>
                    <a:lnTo>
                      <a:pt x="120257" y="6555"/>
                    </a:lnTo>
                    <a:lnTo>
                      <a:pt x="120968" y="11793"/>
                    </a:lnTo>
                    <a:cubicBezTo>
                      <a:pt x="121578" y="15393"/>
                      <a:pt x="122256" y="19060"/>
                      <a:pt x="122527" y="20689"/>
                    </a:cubicBezTo>
                    <a:cubicBezTo>
                      <a:pt x="123611" y="28295"/>
                      <a:pt x="127948" y="50026"/>
                      <a:pt x="125779" y="56545"/>
                    </a:cubicBezTo>
                    <a:cubicBezTo>
                      <a:pt x="124695" y="65237"/>
                      <a:pt x="125779" y="63064"/>
                      <a:pt x="126864" y="71757"/>
                    </a:cubicBezTo>
                    <a:cubicBezTo>
                      <a:pt x="129032" y="91858"/>
                      <a:pt x="132285" y="97290"/>
                      <a:pt x="136622" y="112502"/>
                    </a:cubicBezTo>
                    <a:cubicBezTo>
                      <a:pt x="137707" y="114132"/>
                      <a:pt x="136622" y="116848"/>
                      <a:pt x="137707" y="119021"/>
                    </a:cubicBezTo>
                    <a:cubicBezTo>
                      <a:pt x="138249" y="124997"/>
                      <a:pt x="141502" y="128257"/>
                      <a:pt x="137707" y="133689"/>
                    </a:cubicBezTo>
                    <a:cubicBezTo>
                      <a:pt x="134996" y="132603"/>
                      <a:pt x="131743" y="130973"/>
                      <a:pt x="131743" y="129887"/>
                    </a:cubicBezTo>
                    <a:lnTo>
                      <a:pt x="130659" y="129887"/>
                    </a:lnTo>
                    <a:cubicBezTo>
                      <a:pt x="129032" y="135319"/>
                      <a:pt x="134996" y="147271"/>
                      <a:pt x="130659" y="148901"/>
                    </a:cubicBezTo>
                    <a:cubicBezTo>
                      <a:pt x="125779" y="152161"/>
                      <a:pt x="127948" y="148901"/>
                      <a:pt x="126864" y="154334"/>
                    </a:cubicBezTo>
                    <a:cubicBezTo>
                      <a:pt x="124695" y="154334"/>
                      <a:pt x="129032" y="154334"/>
                      <a:pt x="124695" y="153247"/>
                    </a:cubicBezTo>
                    <a:cubicBezTo>
                      <a:pt x="122527" y="156507"/>
                      <a:pt x="122527" y="155420"/>
                      <a:pt x="121984" y="158137"/>
                    </a:cubicBezTo>
                    <a:cubicBezTo>
                      <a:pt x="119816" y="157050"/>
                      <a:pt x="105720" y="158137"/>
                      <a:pt x="102467" y="158137"/>
                    </a:cubicBezTo>
                    <a:cubicBezTo>
                      <a:pt x="91624" y="159766"/>
                      <a:pt x="81323" y="154334"/>
                      <a:pt x="91624" y="143468"/>
                    </a:cubicBezTo>
                    <a:cubicBezTo>
                      <a:pt x="94877" y="140209"/>
                      <a:pt x="93792" y="139665"/>
                      <a:pt x="95961" y="138579"/>
                    </a:cubicBezTo>
                    <a:cubicBezTo>
                      <a:pt x="98672" y="137492"/>
                      <a:pt x="97045" y="139665"/>
                      <a:pt x="98672" y="136406"/>
                    </a:cubicBezTo>
                    <a:lnTo>
                      <a:pt x="104636" y="127713"/>
                    </a:lnTo>
                    <a:cubicBezTo>
                      <a:pt x="113310" y="119021"/>
                      <a:pt x="106262" y="90771"/>
                      <a:pt x="106262" y="80449"/>
                    </a:cubicBezTo>
                    <a:cubicBezTo>
                      <a:pt x="103551" y="79362"/>
                      <a:pt x="104636" y="81536"/>
                      <a:pt x="104636" y="78276"/>
                    </a:cubicBezTo>
                    <a:cubicBezTo>
                      <a:pt x="104636" y="76103"/>
                      <a:pt x="105720" y="79362"/>
                      <a:pt x="104636" y="76103"/>
                    </a:cubicBezTo>
                    <a:lnTo>
                      <a:pt x="100298" y="73386"/>
                    </a:lnTo>
                    <a:cubicBezTo>
                      <a:pt x="100298" y="72300"/>
                      <a:pt x="95419" y="72300"/>
                      <a:pt x="100298" y="71213"/>
                    </a:cubicBezTo>
                    <a:cubicBezTo>
                      <a:pt x="95961" y="66867"/>
                      <a:pt x="95961" y="66867"/>
                      <a:pt x="91624" y="61435"/>
                    </a:cubicBezTo>
                    <a:cubicBezTo>
                      <a:pt x="85660" y="50569"/>
                      <a:pt x="87829" y="40247"/>
                      <a:pt x="80239" y="30468"/>
                    </a:cubicBezTo>
                    <a:lnTo>
                      <a:pt x="78070" y="23949"/>
                    </a:lnTo>
                    <a:cubicBezTo>
                      <a:pt x="76986" y="21233"/>
                      <a:pt x="75901" y="19059"/>
                      <a:pt x="73733" y="16343"/>
                    </a:cubicBezTo>
                    <a:cubicBezTo>
                      <a:pt x="71022" y="21233"/>
                      <a:pt x="72106" y="25035"/>
                      <a:pt x="71022" y="29925"/>
                    </a:cubicBezTo>
                    <a:cubicBezTo>
                      <a:pt x="71022" y="31555"/>
                      <a:pt x="69938" y="34271"/>
                      <a:pt x="68854" y="36444"/>
                    </a:cubicBezTo>
                    <a:lnTo>
                      <a:pt x="68854" y="37531"/>
                    </a:lnTo>
                    <a:lnTo>
                      <a:pt x="66685" y="45136"/>
                    </a:lnTo>
                    <a:cubicBezTo>
                      <a:pt x="62890" y="52742"/>
                      <a:pt x="63974" y="47853"/>
                      <a:pt x="61806" y="61435"/>
                    </a:cubicBezTo>
                    <a:cubicBezTo>
                      <a:pt x="60721" y="64694"/>
                      <a:pt x="60721" y="66867"/>
                      <a:pt x="60721" y="70127"/>
                    </a:cubicBezTo>
                    <a:cubicBezTo>
                      <a:pt x="60721" y="72843"/>
                      <a:pt x="58553" y="75560"/>
                      <a:pt x="57468" y="85338"/>
                    </a:cubicBezTo>
                    <a:lnTo>
                      <a:pt x="56926" y="103810"/>
                    </a:lnTo>
                    <a:cubicBezTo>
                      <a:pt x="56926" y="114675"/>
                      <a:pt x="57468" y="108699"/>
                      <a:pt x="54758" y="118478"/>
                    </a:cubicBezTo>
                    <a:cubicBezTo>
                      <a:pt x="52589" y="122824"/>
                      <a:pt x="52047" y="123367"/>
                      <a:pt x="47167" y="122824"/>
                    </a:cubicBezTo>
                    <a:cubicBezTo>
                      <a:pt x="47167" y="122824"/>
                      <a:pt x="44999" y="121738"/>
                      <a:pt x="44999" y="123367"/>
                    </a:cubicBezTo>
                    <a:lnTo>
                      <a:pt x="43915" y="124454"/>
                    </a:lnTo>
                    <a:cubicBezTo>
                      <a:pt x="43915" y="128800"/>
                      <a:pt x="43915" y="132060"/>
                      <a:pt x="42830" y="136406"/>
                    </a:cubicBezTo>
                    <a:cubicBezTo>
                      <a:pt x="39035" y="144555"/>
                      <a:pt x="40119" y="140209"/>
                      <a:pt x="39035" y="141295"/>
                    </a:cubicBezTo>
                    <a:cubicBezTo>
                      <a:pt x="31445" y="143468"/>
                      <a:pt x="24397" y="142382"/>
                      <a:pt x="16265" y="142382"/>
                    </a:cubicBezTo>
                    <a:cubicBezTo>
                      <a:pt x="5964" y="142382"/>
                      <a:pt x="2169" y="142382"/>
                      <a:pt x="0" y="135863"/>
                    </a:cubicBezTo>
                    <a:cubicBezTo>
                      <a:pt x="2711" y="132060"/>
                      <a:pt x="3795" y="131516"/>
                      <a:pt x="7048" y="130430"/>
                    </a:cubicBezTo>
                    <a:cubicBezTo>
                      <a:pt x="9759" y="128257"/>
                      <a:pt x="3795" y="132060"/>
                      <a:pt x="8133" y="129343"/>
                    </a:cubicBezTo>
                    <a:lnTo>
                      <a:pt x="15723" y="121738"/>
                    </a:lnTo>
                    <a:cubicBezTo>
                      <a:pt x="18433" y="117391"/>
                      <a:pt x="16265" y="118478"/>
                      <a:pt x="20602" y="116305"/>
                    </a:cubicBezTo>
                    <a:cubicBezTo>
                      <a:pt x="32529" y="110329"/>
                      <a:pt x="39035" y="70670"/>
                      <a:pt x="37951" y="64151"/>
                    </a:cubicBezTo>
                    <a:cubicBezTo>
                      <a:pt x="37951" y="60348"/>
                      <a:pt x="24939" y="41877"/>
                      <a:pt x="33614" y="29382"/>
                    </a:cubicBezTo>
                    <a:lnTo>
                      <a:pt x="25918" y="28050"/>
                    </a:lnTo>
                    <a:lnTo>
                      <a:pt x="30817" y="26714"/>
                    </a:lnTo>
                    <a:cubicBezTo>
                      <a:pt x="36621" y="25226"/>
                      <a:pt x="41756" y="23713"/>
                      <a:pt x="45625" y="21431"/>
                    </a:cubicBezTo>
                    <a:cubicBezTo>
                      <a:pt x="61103" y="12303"/>
                      <a:pt x="61501" y="8334"/>
                      <a:pt x="69438" y="4762"/>
                    </a:cubicBezTo>
                    <a:cubicBezTo>
                      <a:pt x="77375" y="1190"/>
                      <a:pt x="85313" y="0"/>
                      <a:pt x="93250" y="0"/>
                    </a:cubicBezTo>
                    <a:close/>
                  </a:path>
                </a:pathLst>
              </a:custGeom>
              <a:solidFill>
                <a:srgbClr val="9E6C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299" name="Group 298">
            <a:extLst>
              <a:ext uri="{FF2B5EF4-FFF2-40B4-BE49-F238E27FC236}">
                <a16:creationId xmlns:a16="http://schemas.microsoft.com/office/drawing/2014/main" id="{9870E7DA-2997-4F20-9586-7995793204C3}"/>
              </a:ext>
            </a:extLst>
          </p:cNvPr>
          <p:cNvGrpSpPr/>
          <p:nvPr/>
        </p:nvGrpSpPr>
        <p:grpSpPr>
          <a:xfrm>
            <a:off x="6714138" y="2719196"/>
            <a:ext cx="1651109" cy="763565"/>
            <a:chOff x="4957157" y="3325130"/>
            <a:chExt cx="1179199" cy="545328"/>
          </a:xfrm>
        </p:grpSpPr>
        <p:sp>
          <p:nvSpPr>
            <p:cNvPr id="300" name="Bomber">
              <a:extLst>
                <a:ext uri="{FF2B5EF4-FFF2-40B4-BE49-F238E27FC236}">
                  <a16:creationId xmlns:a16="http://schemas.microsoft.com/office/drawing/2014/main" id="{536A89D1-2FE5-4272-B63F-BD84A11111CF}"/>
                </a:ext>
              </a:extLst>
            </p:cNvPr>
            <p:cNvSpPr>
              <a:spLocks noChangeAspect="1"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4957157" y="3325130"/>
              <a:ext cx="1179199" cy="542925"/>
            </a:xfrm>
            <a:custGeom>
              <a:avLst/>
              <a:gdLst>
                <a:gd name="T0" fmla="*/ 3957 w 10434"/>
                <a:gd name="T1" fmla="*/ 4679 h 4794"/>
                <a:gd name="T2" fmla="*/ 4736 w 10434"/>
                <a:gd name="T3" fmla="*/ 4596 h 4794"/>
                <a:gd name="T4" fmla="*/ 4868 w 10434"/>
                <a:gd name="T5" fmla="*/ 4577 h 4794"/>
                <a:gd name="T6" fmla="*/ 4911 w 10434"/>
                <a:gd name="T7" fmla="*/ 4681 h 4794"/>
                <a:gd name="T8" fmla="*/ 4860 w 10434"/>
                <a:gd name="T9" fmla="*/ 4785 h 4794"/>
                <a:gd name="T10" fmla="*/ 4745 w 10434"/>
                <a:gd name="T11" fmla="*/ 4769 h 4794"/>
                <a:gd name="T12" fmla="*/ 4021 w 10434"/>
                <a:gd name="T13" fmla="*/ 4470 h 4794"/>
                <a:gd name="T14" fmla="*/ 4360 w 10434"/>
                <a:gd name="T15" fmla="*/ 4275 h 4794"/>
                <a:gd name="T16" fmla="*/ 4799 w 10434"/>
                <a:gd name="T17" fmla="*/ 4295 h 4794"/>
                <a:gd name="T18" fmla="*/ 4901 w 10434"/>
                <a:gd name="T19" fmla="*/ 4281 h 4794"/>
                <a:gd name="T20" fmla="*/ 4899 w 10434"/>
                <a:gd name="T21" fmla="*/ 4465 h 4794"/>
                <a:gd name="T22" fmla="*/ 4719 w 10434"/>
                <a:gd name="T23" fmla="*/ 4468 h 4794"/>
                <a:gd name="T24" fmla="*/ 4021 w 10434"/>
                <a:gd name="T25" fmla="*/ 4470 h 4794"/>
                <a:gd name="T26" fmla="*/ 4799 w 10434"/>
                <a:gd name="T27" fmla="*/ 4166 h 4794"/>
                <a:gd name="T28" fmla="*/ 4346 w 10434"/>
                <a:gd name="T29" fmla="*/ 4187 h 4794"/>
                <a:gd name="T30" fmla="*/ 3982 w 10434"/>
                <a:gd name="T31" fmla="*/ 4153 h 4794"/>
                <a:gd name="T32" fmla="*/ 4349 w 10434"/>
                <a:gd name="T33" fmla="*/ 3981 h 4794"/>
                <a:gd name="T34" fmla="*/ 4801 w 10434"/>
                <a:gd name="T35" fmla="*/ 3999 h 4794"/>
                <a:gd name="T36" fmla="*/ 4901 w 10434"/>
                <a:gd name="T37" fmla="*/ 3981 h 4794"/>
                <a:gd name="T38" fmla="*/ 4892 w 10434"/>
                <a:gd name="T39" fmla="*/ 4189 h 4794"/>
                <a:gd name="T40" fmla="*/ 4839 w 10434"/>
                <a:gd name="T41" fmla="*/ 4191 h 4794"/>
                <a:gd name="T42" fmla="*/ 3981 w 10434"/>
                <a:gd name="T43" fmla="*/ 3711 h 4794"/>
                <a:gd name="T44" fmla="*/ 4720 w 10434"/>
                <a:gd name="T45" fmla="*/ 3700 h 4794"/>
                <a:gd name="T46" fmla="*/ 4857 w 10434"/>
                <a:gd name="T47" fmla="*/ 3675 h 4794"/>
                <a:gd name="T48" fmla="*/ 4907 w 10434"/>
                <a:gd name="T49" fmla="*/ 3887 h 4794"/>
                <a:gd name="T50" fmla="*/ 4802 w 10434"/>
                <a:gd name="T51" fmla="*/ 3869 h 4794"/>
                <a:gd name="T52" fmla="*/ 4349 w 10434"/>
                <a:gd name="T53" fmla="*/ 3887 h 4794"/>
                <a:gd name="T54" fmla="*/ 3983 w 10434"/>
                <a:gd name="T55" fmla="*/ 3854 h 4794"/>
                <a:gd name="T56" fmla="*/ 3382 w 10434"/>
                <a:gd name="T57" fmla="*/ 3442 h 4794"/>
                <a:gd name="T58" fmla="*/ 2261 w 10434"/>
                <a:gd name="T59" fmla="*/ 3330 h 4794"/>
                <a:gd name="T60" fmla="*/ 89 w 10434"/>
                <a:gd name="T61" fmla="*/ 2819 h 4794"/>
                <a:gd name="T62" fmla="*/ 634 w 10434"/>
                <a:gd name="T63" fmla="*/ 2400 h 4794"/>
                <a:gd name="T64" fmla="*/ 8042 w 10434"/>
                <a:gd name="T65" fmla="*/ 2387 h 4794"/>
                <a:gd name="T66" fmla="*/ 8345 w 10434"/>
                <a:gd name="T67" fmla="*/ 1994 h 4794"/>
                <a:gd name="T68" fmla="*/ 8751 w 10434"/>
                <a:gd name="T69" fmla="*/ 1478 h 4794"/>
                <a:gd name="T70" fmla="*/ 9308 w 10434"/>
                <a:gd name="T71" fmla="*/ 768 h 4794"/>
                <a:gd name="T72" fmla="*/ 9652 w 10434"/>
                <a:gd name="T73" fmla="*/ 331 h 4794"/>
                <a:gd name="T74" fmla="*/ 9881 w 10434"/>
                <a:gd name="T75" fmla="*/ 47 h 4794"/>
                <a:gd name="T76" fmla="*/ 10122 w 10434"/>
                <a:gd name="T77" fmla="*/ 0 h 4794"/>
                <a:gd name="T78" fmla="*/ 10296 w 10434"/>
                <a:gd name="T79" fmla="*/ 128 h 4794"/>
                <a:gd name="T80" fmla="*/ 9965 w 10434"/>
                <a:gd name="T81" fmla="*/ 1581 h 4794"/>
                <a:gd name="T82" fmla="*/ 9813 w 10434"/>
                <a:gd name="T83" fmla="*/ 2253 h 4794"/>
                <a:gd name="T84" fmla="*/ 10084 w 10434"/>
                <a:gd name="T85" fmla="*/ 2392 h 4794"/>
                <a:gd name="T86" fmla="*/ 10377 w 10434"/>
                <a:gd name="T87" fmla="*/ 2884 h 4794"/>
                <a:gd name="T88" fmla="*/ 7345 w 10434"/>
                <a:gd name="T89" fmla="*/ 3277 h 4794"/>
                <a:gd name="T90" fmla="*/ 5451 w 10434"/>
                <a:gd name="T91" fmla="*/ 3331 h 4794"/>
                <a:gd name="T92" fmla="*/ 5444 w 10434"/>
                <a:gd name="T93" fmla="*/ 3549 h 4794"/>
                <a:gd name="T94" fmla="*/ 3390 w 10434"/>
                <a:gd name="T95" fmla="*/ 3541 h 47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434" h="4794">
                  <a:moveTo>
                    <a:pt x="4012" y="4769"/>
                  </a:moveTo>
                  <a:cubicBezTo>
                    <a:pt x="3971" y="4751"/>
                    <a:pt x="3957" y="4729"/>
                    <a:pt x="3957" y="4679"/>
                  </a:cubicBezTo>
                  <a:cubicBezTo>
                    <a:pt x="3957" y="4584"/>
                    <a:pt x="3994" y="4575"/>
                    <a:pt x="4369" y="4575"/>
                  </a:cubicBezTo>
                  <a:cubicBezTo>
                    <a:pt x="4627" y="4575"/>
                    <a:pt x="4686" y="4578"/>
                    <a:pt x="4736" y="4596"/>
                  </a:cubicBezTo>
                  <a:cubicBezTo>
                    <a:pt x="4792" y="4616"/>
                    <a:pt x="4796" y="4616"/>
                    <a:pt x="4811" y="4595"/>
                  </a:cubicBezTo>
                  <a:cubicBezTo>
                    <a:pt x="4822" y="4580"/>
                    <a:pt x="4840" y="4574"/>
                    <a:pt x="4868" y="4577"/>
                  </a:cubicBezTo>
                  <a:lnTo>
                    <a:pt x="4909" y="4581"/>
                  </a:lnTo>
                  <a:lnTo>
                    <a:pt x="4911" y="4681"/>
                  </a:lnTo>
                  <a:lnTo>
                    <a:pt x="4913" y="4781"/>
                  </a:lnTo>
                  <a:lnTo>
                    <a:pt x="4860" y="4785"/>
                  </a:lnTo>
                  <a:cubicBezTo>
                    <a:pt x="4819" y="4788"/>
                    <a:pt x="4807" y="4784"/>
                    <a:pt x="4807" y="4769"/>
                  </a:cubicBezTo>
                  <a:cubicBezTo>
                    <a:pt x="4807" y="4745"/>
                    <a:pt x="4786" y="4745"/>
                    <a:pt x="4745" y="4769"/>
                  </a:cubicBezTo>
                  <a:cubicBezTo>
                    <a:pt x="4701" y="4794"/>
                    <a:pt x="4070" y="4794"/>
                    <a:pt x="4012" y="4769"/>
                  </a:cubicBezTo>
                  <a:close/>
                  <a:moveTo>
                    <a:pt x="4021" y="4470"/>
                  </a:moveTo>
                  <a:cubicBezTo>
                    <a:pt x="3971" y="4452"/>
                    <a:pt x="3954" y="4415"/>
                    <a:pt x="3965" y="4353"/>
                  </a:cubicBezTo>
                  <a:cubicBezTo>
                    <a:pt x="3979" y="4281"/>
                    <a:pt x="4010" y="4275"/>
                    <a:pt x="4360" y="4275"/>
                  </a:cubicBezTo>
                  <a:cubicBezTo>
                    <a:pt x="4614" y="4275"/>
                    <a:pt x="4673" y="4278"/>
                    <a:pt x="4723" y="4296"/>
                  </a:cubicBezTo>
                  <a:cubicBezTo>
                    <a:pt x="4779" y="4316"/>
                    <a:pt x="4783" y="4316"/>
                    <a:pt x="4799" y="4295"/>
                  </a:cubicBezTo>
                  <a:cubicBezTo>
                    <a:pt x="4810" y="4279"/>
                    <a:pt x="4828" y="4274"/>
                    <a:pt x="4858" y="4277"/>
                  </a:cubicBezTo>
                  <a:lnTo>
                    <a:pt x="4901" y="4281"/>
                  </a:lnTo>
                  <a:lnTo>
                    <a:pt x="4903" y="4362"/>
                  </a:lnTo>
                  <a:cubicBezTo>
                    <a:pt x="4905" y="4407"/>
                    <a:pt x="4903" y="4453"/>
                    <a:pt x="4899" y="4465"/>
                  </a:cubicBezTo>
                  <a:cubicBezTo>
                    <a:pt x="4891" y="4494"/>
                    <a:pt x="4822" y="4495"/>
                    <a:pt x="4802" y="4467"/>
                  </a:cubicBezTo>
                  <a:cubicBezTo>
                    <a:pt x="4789" y="4449"/>
                    <a:pt x="4782" y="4449"/>
                    <a:pt x="4719" y="4468"/>
                  </a:cubicBezTo>
                  <a:cubicBezTo>
                    <a:pt x="4664" y="4484"/>
                    <a:pt x="4596" y="4487"/>
                    <a:pt x="4357" y="4486"/>
                  </a:cubicBezTo>
                  <a:cubicBezTo>
                    <a:pt x="4165" y="4485"/>
                    <a:pt x="4049" y="4479"/>
                    <a:pt x="4021" y="4470"/>
                  </a:cubicBezTo>
                  <a:close/>
                  <a:moveTo>
                    <a:pt x="4839" y="4191"/>
                  </a:moveTo>
                  <a:cubicBezTo>
                    <a:pt x="4825" y="4188"/>
                    <a:pt x="4807" y="4177"/>
                    <a:pt x="4799" y="4166"/>
                  </a:cubicBezTo>
                  <a:cubicBezTo>
                    <a:pt x="4785" y="4149"/>
                    <a:pt x="4779" y="4149"/>
                    <a:pt x="4733" y="4167"/>
                  </a:cubicBezTo>
                  <a:cubicBezTo>
                    <a:pt x="4690" y="4184"/>
                    <a:pt x="4627" y="4187"/>
                    <a:pt x="4346" y="4187"/>
                  </a:cubicBezTo>
                  <a:lnTo>
                    <a:pt x="4009" y="4187"/>
                  </a:lnTo>
                  <a:lnTo>
                    <a:pt x="3982" y="4153"/>
                  </a:lnTo>
                  <a:cubicBezTo>
                    <a:pt x="3961" y="4126"/>
                    <a:pt x="3957" y="4108"/>
                    <a:pt x="3962" y="4070"/>
                  </a:cubicBezTo>
                  <a:cubicBezTo>
                    <a:pt x="3974" y="3980"/>
                    <a:pt x="3968" y="3981"/>
                    <a:pt x="4349" y="3981"/>
                  </a:cubicBezTo>
                  <a:cubicBezTo>
                    <a:pt x="4642" y="3981"/>
                    <a:pt x="4696" y="3984"/>
                    <a:pt x="4741" y="4003"/>
                  </a:cubicBezTo>
                  <a:cubicBezTo>
                    <a:pt x="4792" y="4024"/>
                    <a:pt x="4794" y="4023"/>
                    <a:pt x="4801" y="3999"/>
                  </a:cubicBezTo>
                  <a:cubicBezTo>
                    <a:pt x="4808" y="3978"/>
                    <a:pt x="4818" y="3974"/>
                    <a:pt x="4855" y="3977"/>
                  </a:cubicBezTo>
                  <a:lnTo>
                    <a:pt x="4901" y="3981"/>
                  </a:lnTo>
                  <a:lnTo>
                    <a:pt x="4905" y="4080"/>
                  </a:lnTo>
                  <a:cubicBezTo>
                    <a:pt x="4908" y="4151"/>
                    <a:pt x="4904" y="4182"/>
                    <a:pt x="4892" y="4189"/>
                  </a:cubicBezTo>
                  <a:cubicBezTo>
                    <a:pt x="4883" y="4195"/>
                    <a:pt x="4873" y="4199"/>
                    <a:pt x="4870" y="4198"/>
                  </a:cubicBezTo>
                  <a:cubicBezTo>
                    <a:pt x="4867" y="4197"/>
                    <a:pt x="4852" y="4194"/>
                    <a:pt x="4839" y="4191"/>
                  </a:cubicBezTo>
                  <a:close/>
                  <a:moveTo>
                    <a:pt x="3983" y="3854"/>
                  </a:moveTo>
                  <a:cubicBezTo>
                    <a:pt x="3951" y="3813"/>
                    <a:pt x="3950" y="3749"/>
                    <a:pt x="3981" y="3711"/>
                  </a:cubicBezTo>
                  <a:cubicBezTo>
                    <a:pt x="4005" y="3681"/>
                    <a:pt x="4006" y="3681"/>
                    <a:pt x="4336" y="3677"/>
                  </a:cubicBezTo>
                  <a:cubicBezTo>
                    <a:pt x="4654" y="3673"/>
                    <a:pt x="4669" y="3674"/>
                    <a:pt x="4720" y="3700"/>
                  </a:cubicBezTo>
                  <a:cubicBezTo>
                    <a:pt x="4775" y="3728"/>
                    <a:pt x="4807" y="3726"/>
                    <a:pt x="4807" y="3694"/>
                  </a:cubicBezTo>
                  <a:cubicBezTo>
                    <a:pt x="4807" y="3680"/>
                    <a:pt x="4821" y="3675"/>
                    <a:pt x="4857" y="3675"/>
                  </a:cubicBezTo>
                  <a:lnTo>
                    <a:pt x="4907" y="3675"/>
                  </a:lnTo>
                  <a:lnTo>
                    <a:pt x="4907" y="3887"/>
                  </a:lnTo>
                  <a:lnTo>
                    <a:pt x="4862" y="3887"/>
                  </a:lnTo>
                  <a:cubicBezTo>
                    <a:pt x="4837" y="3887"/>
                    <a:pt x="4810" y="3879"/>
                    <a:pt x="4802" y="3869"/>
                  </a:cubicBezTo>
                  <a:cubicBezTo>
                    <a:pt x="4790" y="3854"/>
                    <a:pt x="4782" y="3854"/>
                    <a:pt x="4739" y="3869"/>
                  </a:cubicBezTo>
                  <a:cubicBezTo>
                    <a:pt x="4700" y="3883"/>
                    <a:pt x="4611" y="3887"/>
                    <a:pt x="4349" y="3887"/>
                  </a:cubicBezTo>
                  <a:lnTo>
                    <a:pt x="4009" y="3887"/>
                  </a:lnTo>
                  <a:lnTo>
                    <a:pt x="3983" y="3854"/>
                  </a:lnTo>
                  <a:close/>
                  <a:moveTo>
                    <a:pt x="3390" y="3541"/>
                  </a:moveTo>
                  <a:cubicBezTo>
                    <a:pt x="3386" y="3537"/>
                    <a:pt x="3382" y="3492"/>
                    <a:pt x="3382" y="3442"/>
                  </a:cubicBezTo>
                  <a:cubicBezTo>
                    <a:pt x="3382" y="3392"/>
                    <a:pt x="3377" y="3348"/>
                    <a:pt x="3370" y="3344"/>
                  </a:cubicBezTo>
                  <a:cubicBezTo>
                    <a:pt x="3363" y="3340"/>
                    <a:pt x="2864" y="3333"/>
                    <a:pt x="2261" y="3330"/>
                  </a:cubicBezTo>
                  <a:cubicBezTo>
                    <a:pt x="1029" y="3323"/>
                    <a:pt x="1061" y="3325"/>
                    <a:pt x="677" y="3229"/>
                  </a:cubicBezTo>
                  <a:cubicBezTo>
                    <a:pt x="233" y="3117"/>
                    <a:pt x="0" y="2955"/>
                    <a:pt x="89" y="2819"/>
                  </a:cubicBezTo>
                  <a:cubicBezTo>
                    <a:pt x="108" y="2791"/>
                    <a:pt x="197" y="2715"/>
                    <a:pt x="395" y="2556"/>
                  </a:cubicBezTo>
                  <a:cubicBezTo>
                    <a:pt x="555" y="2429"/>
                    <a:pt x="578" y="2413"/>
                    <a:pt x="634" y="2400"/>
                  </a:cubicBezTo>
                  <a:cubicBezTo>
                    <a:pt x="670" y="2392"/>
                    <a:pt x="1950" y="2388"/>
                    <a:pt x="4365" y="2388"/>
                  </a:cubicBezTo>
                  <a:lnTo>
                    <a:pt x="8042" y="2387"/>
                  </a:lnTo>
                  <a:lnTo>
                    <a:pt x="8062" y="2356"/>
                  </a:lnTo>
                  <a:cubicBezTo>
                    <a:pt x="8080" y="2329"/>
                    <a:pt x="8184" y="2196"/>
                    <a:pt x="8345" y="1994"/>
                  </a:cubicBezTo>
                  <a:cubicBezTo>
                    <a:pt x="8373" y="1959"/>
                    <a:pt x="8453" y="1857"/>
                    <a:pt x="8523" y="1767"/>
                  </a:cubicBezTo>
                  <a:cubicBezTo>
                    <a:pt x="8593" y="1677"/>
                    <a:pt x="8696" y="1547"/>
                    <a:pt x="8751" y="1478"/>
                  </a:cubicBezTo>
                  <a:cubicBezTo>
                    <a:pt x="8851" y="1353"/>
                    <a:pt x="9116" y="1014"/>
                    <a:pt x="9164" y="951"/>
                  </a:cubicBezTo>
                  <a:cubicBezTo>
                    <a:pt x="9177" y="933"/>
                    <a:pt x="9242" y="851"/>
                    <a:pt x="9308" y="768"/>
                  </a:cubicBezTo>
                  <a:cubicBezTo>
                    <a:pt x="9374" y="686"/>
                    <a:pt x="9475" y="557"/>
                    <a:pt x="9532" y="481"/>
                  </a:cubicBezTo>
                  <a:cubicBezTo>
                    <a:pt x="9590" y="405"/>
                    <a:pt x="9644" y="338"/>
                    <a:pt x="9652" y="331"/>
                  </a:cubicBezTo>
                  <a:cubicBezTo>
                    <a:pt x="9660" y="324"/>
                    <a:pt x="9704" y="268"/>
                    <a:pt x="9751" y="206"/>
                  </a:cubicBezTo>
                  <a:cubicBezTo>
                    <a:pt x="9798" y="144"/>
                    <a:pt x="9856" y="72"/>
                    <a:pt x="9881" y="47"/>
                  </a:cubicBezTo>
                  <a:lnTo>
                    <a:pt x="9925" y="0"/>
                  </a:lnTo>
                  <a:lnTo>
                    <a:pt x="10122" y="0"/>
                  </a:lnTo>
                  <a:cubicBezTo>
                    <a:pt x="10250" y="0"/>
                    <a:pt x="10320" y="4"/>
                    <a:pt x="10320" y="13"/>
                  </a:cubicBezTo>
                  <a:cubicBezTo>
                    <a:pt x="10320" y="20"/>
                    <a:pt x="10309" y="72"/>
                    <a:pt x="10296" y="128"/>
                  </a:cubicBezTo>
                  <a:cubicBezTo>
                    <a:pt x="10266" y="256"/>
                    <a:pt x="10136" y="825"/>
                    <a:pt x="10076" y="1094"/>
                  </a:cubicBezTo>
                  <a:cubicBezTo>
                    <a:pt x="10031" y="1295"/>
                    <a:pt x="10023" y="1328"/>
                    <a:pt x="9965" y="1581"/>
                  </a:cubicBezTo>
                  <a:cubicBezTo>
                    <a:pt x="9947" y="1657"/>
                    <a:pt x="9913" y="1811"/>
                    <a:pt x="9889" y="1923"/>
                  </a:cubicBezTo>
                  <a:cubicBezTo>
                    <a:pt x="9864" y="2036"/>
                    <a:pt x="9830" y="2185"/>
                    <a:pt x="9813" y="2253"/>
                  </a:cubicBezTo>
                  <a:cubicBezTo>
                    <a:pt x="9788" y="2352"/>
                    <a:pt x="9784" y="2381"/>
                    <a:pt x="9797" y="2389"/>
                  </a:cubicBezTo>
                  <a:cubicBezTo>
                    <a:pt x="9806" y="2394"/>
                    <a:pt x="9935" y="2395"/>
                    <a:pt x="10084" y="2392"/>
                  </a:cubicBezTo>
                  <a:cubicBezTo>
                    <a:pt x="10434" y="2383"/>
                    <a:pt x="10407" y="2362"/>
                    <a:pt x="10407" y="2643"/>
                  </a:cubicBezTo>
                  <a:cubicBezTo>
                    <a:pt x="10406" y="2841"/>
                    <a:pt x="10405" y="2850"/>
                    <a:pt x="10377" y="2884"/>
                  </a:cubicBezTo>
                  <a:cubicBezTo>
                    <a:pt x="10340" y="2928"/>
                    <a:pt x="10248" y="2957"/>
                    <a:pt x="10114" y="2968"/>
                  </a:cubicBezTo>
                  <a:cubicBezTo>
                    <a:pt x="9990" y="2979"/>
                    <a:pt x="7799" y="3223"/>
                    <a:pt x="7345" y="3277"/>
                  </a:cubicBezTo>
                  <a:cubicBezTo>
                    <a:pt x="7015" y="3317"/>
                    <a:pt x="7010" y="3317"/>
                    <a:pt x="6232" y="3324"/>
                  </a:cubicBezTo>
                  <a:lnTo>
                    <a:pt x="5451" y="3331"/>
                  </a:lnTo>
                  <a:lnTo>
                    <a:pt x="5447" y="3440"/>
                  </a:lnTo>
                  <a:lnTo>
                    <a:pt x="5444" y="3549"/>
                  </a:lnTo>
                  <a:lnTo>
                    <a:pt x="4421" y="3549"/>
                  </a:lnTo>
                  <a:cubicBezTo>
                    <a:pt x="3858" y="3549"/>
                    <a:pt x="3395" y="3545"/>
                    <a:pt x="3390" y="354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1" name="Rectangle 300">
              <a:extLst>
                <a:ext uri="{FF2B5EF4-FFF2-40B4-BE49-F238E27FC236}">
                  <a16:creationId xmlns:a16="http://schemas.microsoft.com/office/drawing/2014/main" id="{F76AD218-C121-4EA0-B2E1-2D82C35FB233}"/>
                </a:ext>
              </a:extLst>
            </p:cNvPr>
            <p:cNvSpPr/>
            <p:nvPr/>
          </p:nvSpPr>
          <p:spPr>
            <a:xfrm>
              <a:off x="5327650" y="3703289"/>
              <a:ext cx="286582" cy="167169"/>
            </a:xfrm>
            <a:prstGeom prst="rect">
              <a:avLst/>
            </a:prstGeom>
            <a:solidFill>
              <a:srgbClr val="89C4F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2" name="Right Triangle 174">
              <a:extLst>
                <a:ext uri="{FF2B5EF4-FFF2-40B4-BE49-F238E27FC236}">
                  <a16:creationId xmlns:a16="http://schemas.microsoft.com/office/drawing/2014/main" id="{15ADDB5E-6D52-4F04-8912-271EEF2A8111}"/>
                </a:ext>
              </a:extLst>
            </p:cNvPr>
            <p:cNvSpPr/>
            <p:nvPr/>
          </p:nvSpPr>
          <p:spPr>
            <a:xfrm rot="7733115">
              <a:off x="5437500" y="3503234"/>
              <a:ext cx="182690" cy="479379"/>
            </a:xfrm>
            <a:custGeom>
              <a:avLst/>
              <a:gdLst>
                <a:gd name="connsiteX0" fmla="*/ 0 w 154098"/>
                <a:gd name="connsiteY0" fmla="*/ 372313 h 372313"/>
                <a:gd name="connsiteX1" fmla="*/ 0 w 154098"/>
                <a:gd name="connsiteY1" fmla="*/ 0 h 372313"/>
                <a:gd name="connsiteX2" fmla="*/ 154098 w 154098"/>
                <a:gd name="connsiteY2" fmla="*/ 372313 h 372313"/>
                <a:gd name="connsiteX3" fmla="*/ 0 w 154098"/>
                <a:gd name="connsiteY3" fmla="*/ 372313 h 372313"/>
                <a:gd name="connsiteX0" fmla="*/ 0 w 154098"/>
                <a:gd name="connsiteY0" fmla="*/ 373990 h 373990"/>
                <a:gd name="connsiteX1" fmla="*/ 0 w 154098"/>
                <a:gd name="connsiteY1" fmla="*/ 1677 h 373990"/>
                <a:gd name="connsiteX2" fmla="*/ 801 w 154098"/>
                <a:gd name="connsiteY2" fmla="*/ 0 h 373990"/>
                <a:gd name="connsiteX3" fmla="*/ 154098 w 154098"/>
                <a:gd name="connsiteY3" fmla="*/ 373990 h 373990"/>
                <a:gd name="connsiteX4" fmla="*/ 0 w 154098"/>
                <a:gd name="connsiteY4" fmla="*/ 373990 h 373990"/>
                <a:gd name="connsiteX0" fmla="*/ 0 w 154098"/>
                <a:gd name="connsiteY0" fmla="*/ 372313 h 372313"/>
                <a:gd name="connsiteX1" fmla="*/ 0 w 154098"/>
                <a:gd name="connsiteY1" fmla="*/ 0 h 372313"/>
                <a:gd name="connsiteX2" fmla="*/ 34048 w 154098"/>
                <a:gd name="connsiteY2" fmla="*/ 4142 h 372313"/>
                <a:gd name="connsiteX3" fmla="*/ 154098 w 154098"/>
                <a:gd name="connsiteY3" fmla="*/ 372313 h 372313"/>
                <a:gd name="connsiteX4" fmla="*/ 0 w 154098"/>
                <a:gd name="connsiteY4" fmla="*/ 372313 h 372313"/>
                <a:gd name="connsiteX0" fmla="*/ 0 w 139754"/>
                <a:gd name="connsiteY0" fmla="*/ 372313 h 402408"/>
                <a:gd name="connsiteX1" fmla="*/ 0 w 139754"/>
                <a:gd name="connsiteY1" fmla="*/ 0 h 402408"/>
                <a:gd name="connsiteX2" fmla="*/ 34048 w 139754"/>
                <a:gd name="connsiteY2" fmla="*/ 4142 h 402408"/>
                <a:gd name="connsiteX3" fmla="*/ 139754 w 139754"/>
                <a:gd name="connsiteY3" fmla="*/ 402408 h 402408"/>
                <a:gd name="connsiteX4" fmla="*/ 0 w 139754"/>
                <a:gd name="connsiteY4" fmla="*/ 372313 h 402408"/>
                <a:gd name="connsiteX0" fmla="*/ 0 w 164610"/>
                <a:gd name="connsiteY0" fmla="*/ 239441 h 402408"/>
                <a:gd name="connsiteX1" fmla="*/ 24856 w 164610"/>
                <a:gd name="connsiteY1" fmla="*/ 0 h 402408"/>
                <a:gd name="connsiteX2" fmla="*/ 58904 w 164610"/>
                <a:gd name="connsiteY2" fmla="*/ 4142 h 402408"/>
                <a:gd name="connsiteX3" fmla="*/ 164610 w 164610"/>
                <a:gd name="connsiteY3" fmla="*/ 402408 h 402408"/>
                <a:gd name="connsiteX4" fmla="*/ 0 w 164610"/>
                <a:gd name="connsiteY4" fmla="*/ 239441 h 402408"/>
                <a:gd name="connsiteX0" fmla="*/ 0 w 152781"/>
                <a:gd name="connsiteY0" fmla="*/ 239441 h 382419"/>
                <a:gd name="connsiteX1" fmla="*/ 24856 w 152781"/>
                <a:gd name="connsiteY1" fmla="*/ 0 h 382419"/>
                <a:gd name="connsiteX2" fmla="*/ 58904 w 152781"/>
                <a:gd name="connsiteY2" fmla="*/ 4142 h 382419"/>
                <a:gd name="connsiteX3" fmla="*/ 152781 w 152781"/>
                <a:gd name="connsiteY3" fmla="*/ 382419 h 382419"/>
                <a:gd name="connsiteX4" fmla="*/ 0 w 152781"/>
                <a:gd name="connsiteY4" fmla="*/ 239441 h 382419"/>
                <a:gd name="connsiteX0" fmla="*/ 0 w 152781"/>
                <a:gd name="connsiteY0" fmla="*/ 239441 h 382419"/>
                <a:gd name="connsiteX1" fmla="*/ 24856 w 152781"/>
                <a:gd name="connsiteY1" fmla="*/ 0 h 382419"/>
                <a:gd name="connsiteX2" fmla="*/ 81869 w 152781"/>
                <a:gd name="connsiteY2" fmla="*/ 64498 h 382419"/>
                <a:gd name="connsiteX3" fmla="*/ 152781 w 152781"/>
                <a:gd name="connsiteY3" fmla="*/ 382419 h 382419"/>
                <a:gd name="connsiteX4" fmla="*/ 0 w 152781"/>
                <a:gd name="connsiteY4" fmla="*/ 239441 h 382419"/>
                <a:gd name="connsiteX0" fmla="*/ 0 w 152781"/>
                <a:gd name="connsiteY0" fmla="*/ 246327 h 389305"/>
                <a:gd name="connsiteX1" fmla="*/ 18564 w 152781"/>
                <a:gd name="connsiteY1" fmla="*/ 0 h 389305"/>
                <a:gd name="connsiteX2" fmla="*/ 81869 w 152781"/>
                <a:gd name="connsiteY2" fmla="*/ 71384 h 389305"/>
                <a:gd name="connsiteX3" fmla="*/ 152781 w 152781"/>
                <a:gd name="connsiteY3" fmla="*/ 389305 h 389305"/>
                <a:gd name="connsiteX4" fmla="*/ 0 w 152781"/>
                <a:gd name="connsiteY4" fmla="*/ 246327 h 389305"/>
                <a:gd name="connsiteX0" fmla="*/ 0 w 137178"/>
                <a:gd name="connsiteY0" fmla="*/ 246327 h 400410"/>
                <a:gd name="connsiteX1" fmla="*/ 18564 w 137178"/>
                <a:gd name="connsiteY1" fmla="*/ 0 h 400410"/>
                <a:gd name="connsiteX2" fmla="*/ 81869 w 137178"/>
                <a:gd name="connsiteY2" fmla="*/ 71384 h 400410"/>
                <a:gd name="connsiteX3" fmla="*/ 137178 w 137178"/>
                <a:gd name="connsiteY3" fmla="*/ 400410 h 400410"/>
                <a:gd name="connsiteX4" fmla="*/ 0 w 137178"/>
                <a:gd name="connsiteY4" fmla="*/ 246327 h 400410"/>
                <a:gd name="connsiteX0" fmla="*/ 0 w 148189"/>
                <a:gd name="connsiteY0" fmla="*/ 234278 h 400410"/>
                <a:gd name="connsiteX1" fmla="*/ 29575 w 148189"/>
                <a:gd name="connsiteY1" fmla="*/ 0 h 400410"/>
                <a:gd name="connsiteX2" fmla="*/ 92880 w 148189"/>
                <a:gd name="connsiteY2" fmla="*/ 71384 h 400410"/>
                <a:gd name="connsiteX3" fmla="*/ 148189 w 148189"/>
                <a:gd name="connsiteY3" fmla="*/ 400410 h 400410"/>
                <a:gd name="connsiteX4" fmla="*/ 0 w 148189"/>
                <a:gd name="connsiteY4" fmla="*/ 234278 h 400410"/>
                <a:gd name="connsiteX0" fmla="*/ 0 w 170211"/>
                <a:gd name="connsiteY0" fmla="*/ 234278 h 424508"/>
                <a:gd name="connsiteX1" fmla="*/ 29575 w 170211"/>
                <a:gd name="connsiteY1" fmla="*/ 0 h 424508"/>
                <a:gd name="connsiteX2" fmla="*/ 92880 w 170211"/>
                <a:gd name="connsiteY2" fmla="*/ 71384 h 424508"/>
                <a:gd name="connsiteX3" fmla="*/ 170211 w 170211"/>
                <a:gd name="connsiteY3" fmla="*/ 424508 h 424508"/>
                <a:gd name="connsiteX4" fmla="*/ 0 w 170211"/>
                <a:gd name="connsiteY4" fmla="*/ 234278 h 424508"/>
                <a:gd name="connsiteX0" fmla="*/ 0 w 192232"/>
                <a:gd name="connsiteY0" fmla="*/ 210181 h 424508"/>
                <a:gd name="connsiteX1" fmla="*/ 51596 w 192232"/>
                <a:gd name="connsiteY1" fmla="*/ 0 h 424508"/>
                <a:gd name="connsiteX2" fmla="*/ 114901 w 192232"/>
                <a:gd name="connsiteY2" fmla="*/ 71384 h 424508"/>
                <a:gd name="connsiteX3" fmla="*/ 192232 w 192232"/>
                <a:gd name="connsiteY3" fmla="*/ 424508 h 424508"/>
                <a:gd name="connsiteX4" fmla="*/ 0 w 192232"/>
                <a:gd name="connsiteY4" fmla="*/ 210181 h 424508"/>
                <a:gd name="connsiteX0" fmla="*/ 0 w 192232"/>
                <a:gd name="connsiteY0" fmla="*/ 230836 h 445163"/>
                <a:gd name="connsiteX1" fmla="*/ 32721 w 192232"/>
                <a:gd name="connsiteY1" fmla="*/ 0 h 445163"/>
                <a:gd name="connsiteX2" fmla="*/ 114901 w 192232"/>
                <a:gd name="connsiteY2" fmla="*/ 92039 h 445163"/>
                <a:gd name="connsiteX3" fmla="*/ 192232 w 192232"/>
                <a:gd name="connsiteY3" fmla="*/ 445163 h 445163"/>
                <a:gd name="connsiteX4" fmla="*/ 0 w 192232"/>
                <a:gd name="connsiteY4" fmla="*/ 230836 h 445163"/>
                <a:gd name="connsiteX0" fmla="*/ 0 w 192232"/>
                <a:gd name="connsiteY0" fmla="*/ 230836 h 445163"/>
                <a:gd name="connsiteX1" fmla="*/ 32721 w 192232"/>
                <a:gd name="connsiteY1" fmla="*/ 0 h 445163"/>
                <a:gd name="connsiteX2" fmla="*/ 84952 w 192232"/>
                <a:gd name="connsiteY2" fmla="*/ 45175 h 445163"/>
                <a:gd name="connsiteX3" fmla="*/ 192232 w 192232"/>
                <a:gd name="connsiteY3" fmla="*/ 445163 h 445163"/>
                <a:gd name="connsiteX4" fmla="*/ 0 w 192232"/>
                <a:gd name="connsiteY4" fmla="*/ 230836 h 445163"/>
                <a:gd name="connsiteX0" fmla="*/ 0 w 192232"/>
                <a:gd name="connsiteY0" fmla="*/ 230836 h 445163"/>
                <a:gd name="connsiteX1" fmla="*/ 32721 w 192232"/>
                <a:gd name="connsiteY1" fmla="*/ 0 h 445163"/>
                <a:gd name="connsiteX2" fmla="*/ 79918 w 192232"/>
                <a:gd name="connsiteY2" fmla="*/ 57280 h 445163"/>
                <a:gd name="connsiteX3" fmla="*/ 192232 w 192232"/>
                <a:gd name="connsiteY3" fmla="*/ 445163 h 445163"/>
                <a:gd name="connsiteX4" fmla="*/ 0 w 192232"/>
                <a:gd name="connsiteY4" fmla="*/ 230836 h 445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2232" h="445163">
                  <a:moveTo>
                    <a:pt x="0" y="230836"/>
                  </a:moveTo>
                  <a:lnTo>
                    <a:pt x="32721" y="0"/>
                  </a:lnTo>
                  <a:lnTo>
                    <a:pt x="79918" y="57280"/>
                  </a:lnTo>
                  <a:lnTo>
                    <a:pt x="192232" y="445163"/>
                  </a:lnTo>
                  <a:lnTo>
                    <a:pt x="0" y="23083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F55040C2-074C-4CBF-AAEE-0AA9F81C0BBC}"/>
              </a:ext>
            </a:extLst>
          </p:cNvPr>
          <p:cNvSpPr txBox="1"/>
          <p:nvPr/>
        </p:nvSpPr>
        <p:spPr>
          <a:xfrm>
            <a:off x="917136" y="705442"/>
            <a:ext cx="524023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>
                <a:solidFill>
                  <a:schemeClr val="bg1"/>
                </a:solidFill>
                <a:latin typeface="Montserrat" panose="02000505000000020004" pitchFamily="2" charset="0"/>
              </a:rPr>
              <a:t>Our home, </a:t>
            </a:r>
            <a:r>
              <a:rPr lang="en-US" sz="5400" b="1">
                <a:solidFill>
                  <a:schemeClr val="bg1"/>
                </a:solidFill>
                <a:latin typeface="Montserrat" panose="02000505000000020004" pitchFamily="2" charset="0"/>
              </a:rPr>
              <a:t>Troposphere</a:t>
            </a:r>
          </a:p>
        </p:txBody>
      </p:sp>
      <p:sp>
        <p:nvSpPr>
          <p:cNvPr id="303" name="TextBox 302">
            <a:extLst>
              <a:ext uri="{FF2B5EF4-FFF2-40B4-BE49-F238E27FC236}">
                <a16:creationId xmlns:a16="http://schemas.microsoft.com/office/drawing/2014/main" id="{BDA0FFBB-895F-4E1C-B432-81AA9190B9C5}"/>
              </a:ext>
            </a:extLst>
          </p:cNvPr>
          <p:cNvSpPr txBox="1"/>
          <p:nvPr/>
        </p:nvSpPr>
        <p:spPr>
          <a:xfrm>
            <a:off x="917135" y="2613588"/>
            <a:ext cx="541068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>
                <a:solidFill>
                  <a:schemeClr val="bg1"/>
                </a:solidFill>
                <a:latin typeface="Montserrat" panose="02000505000000020004" pitchFamily="2" charset="0"/>
              </a:rPr>
              <a:t>The troposphere is the lowest layer of Earth's atmosphere. It extends from Earth's surface to an average height of about 12 km.</a:t>
            </a:r>
            <a:endParaRPr lang="en-US" sz="2400" b="1">
              <a:solidFill>
                <a:schemeClr val="bg1"/>
              </a:solidFill>
              <a:latin typeface="Montserrat" panose="02000505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70352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ransport*vehicle*hot air*balloon*fligh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SS*international space station*satelli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omber*bombing*war*airplane*airborne*strike*fight*military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omber*bombing*war*airplane*airborne*strike*fight*military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96</TotalTime>
  <Words>31</Words>
  <Application>Microsoft Office PowerPoint</Application>
  <PresentationFormat>On-screen Show (4:3)</PresentationFormat>
  <Paragraphs>5</Paragraphs>
  <Slides>2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Calibri</vt:lpstr>
      <vt:lpstr>Montserrat</vt:lpstr>
      <vt:lpstr>Calibri Light</vt:lpstr>
      <vt:lpstr>Office Them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ian Dwi Wijaya</dc:creator>
  <cp:lastModifiedBy>Christian Wijaya</cp:lastModifiedBy>
  <cp:revision>32</cp:revision>
  <dcterms:created xsi:type="dcterms:W3CDTF">2018-11-07T10:44:19Z</dcterms:created>
  <dcterms:modified xsi:type="dcterms:W3CDTF">2022-05-24T15:34:20Z</dcterms:modified>
</cp:coreProperties>
</file>